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8" r:id="rId3"/>
    <p:sldMasterId id="2147483697" r:id="rId4"/>
  </p:sldMasterIdLst>
  <p:notesMasterIdLst>
    <p:notesMasterId r:id="rId20"/>
  </p:notesMasterIdLst>
  <p:sldIdLst>
    <p:sldId id="256" r:id="rId5"/>
    <p:sldId id="257" r:id="rId6"/>
    <p:sldId id="258" r:id="rId7"/>
    <p:sldId id="259" r:id="rId8"/>
    <p:sldId id="260" r:id="rId9"/>
    <p:sldId id="1355" r:id="rId10"/>
    <p:sldId id="1356" r:id="rId11"/>
    <p:sldId id="261" r:id="rId12"/>
    <p:sldId id="1357" r:id="rId13"/>
    <p:sldId id="1358" r:id="rId14"/>
    <p:sldId id="262" r:id="rId15"/>
    <p:sldId id="263" r:id="rId16"/>
    <p:sldId id="1241" r:id="rId17"/>
    <p:sldId id="1146" r:id="rId18"/>
    <p:sldId id="264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ry Brown" initials="JB" lastIdx="1" clrIdx="0">
    <p:extLst>
      <p:ext uri="{19B8F6BF-5375-455C-9EA6-DF929625EA0E}">
        <p15:presenceInfo xmlns:p15="http://schemas.microsoft.com/office/powerpoint/2012/main" userId="78298c50cb4bd45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36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E9893A-624F-4763-B9F7-3139D4A42936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706A44-D76A-4FD1-95F9-0B7CA657C3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7072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775498">
              <a:defRPr/>
            </a:pP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Explain that members of the AP community, including DC members and ETS test developers, identified the set of practices/skills students need to be able to apply on the exam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3EC56D-A4BA-4A41-B0DB-BC0A1EBC2E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781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6AF150-6D2A-4DA1-BED8-20A773521B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3743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urse Summary highlights student progress across the units. 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chers view their classes and students, and school and district administrators can view results for the schools, classes, and students they’re responsible for. 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ated note: any administrator with access to AP Classroom will be able to view this data, which is why access is granted using the same access code for AP Scores. 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 sure to only include administrators who should have access to student data.</a:t>
            </a: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F3EC56D-A4BA-4A41-B0DB-BC0A1EBC2E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4737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F6B381-A7BC-4F77-BA6A-4B98A608D8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20138C-E9C7-469A-A567-ACC2B3B6DF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4B1C5-4FCA-4930-B2E3-BD8B51C22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78E453-0C46-440A-A0F0-0AE919D2D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8B7FD9-4BCC-4C45-9644-69A99FB9A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574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7C5CA-5D3D-4244-B310-74A435EA2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58F0DF-291B-4E97-8B0F-CD87004D7B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E7379-B9F8-47EC-843A-118D859E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5E2C37-9038-4321-AAA5-65B4AB19F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F2DD13-8531-4B70-8586-3C0247FA0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584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6988BF-F207-4A0F-8F28-24193DFA59C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EB76D0A-13B3-4FD7-AEB5-D13E53CF63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B62C42-CE97-4392-A158-95229173F7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F9220A-4DD3-4803-8971-D1BC7875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8D2B0-E12A-46B6-86CC-E5734AAA5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141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57480" y="340639"/>
            <a:ext cx="11517138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32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675"/>
            <a:ext cx="4828269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4367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899" b="1">
                <a:solidFill>
                  <a:schemeClr val="accent2"/>
                </a:solidFill>
                <a:latin typeface="+mj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reeform 17"/>
          <p:cNvSpPr/>
          <p:nvPr/>
        </p:nvSpPr>
        <p:spPr>
          <a:xfrm>
            <a:off x="6067374" y="347530"/>
            <a:ext cx="5807244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57481" y="6304778"/>
            <a:ext cx="3932368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519">
                <a:solidFill>
                  <a:schemeClr val="tx1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067374" y="340639"/>
            <a:ext cx="5807245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709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Brand Approved Picture for Cover</a:t>
            </a:r>
            <a:br>
              <a:rPr lang="en-US"/>
            </a:br>
            <a:r>
              <a:rPr lang="en-US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86252" y="892293"/>
            <a:ext cx="4251902" cy="429568"/>
          </a:xfrm>
        </p:spPr>
        <p:txBody>
          <a:bodyPr>
            <a:noAutofit/>
          </a:bodyPr>
          <a:lstStyle>
            <a:lvl1pPr marL="0" indent="0">
              <a:buNone/>
              <a:defRPr lang="en-US" sz="1519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8996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0485" y="589036"/>
            <a:ext cx="10401515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353330" y="877834"/>
            <a:ext cx="8241507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5127" b="1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3330" y="5785200"/>
            <a:ext cx="6448450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658" b="0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10215964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329">
                <a:solidFill>
                  <a:schemeClr val="accent3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242356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329">
                <a:solidFill>
                  <a:schemeClr val="tx2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0485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71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6951623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6460" y="1167549"/>
            <a:ext cx="11479080" cy="3303566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09"/>
          </a:p>
        </p:txBody>
      </p:sp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7072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117661" y="6252279"/>
            <a:ext cx="971787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61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117661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17661" y="440320"/>
            <a:ext cx="971787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281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75973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6074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38023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42A49-B97A-4949-9C3A-5E7657AF6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EC5BFD-978D-40A9-A66F-65DC24F1C7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A7C933-EA67-42B5-9029-44C4B25AAF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572042-56A8-48DA-837D-81350FA35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EEEAF7-986C-4676-9BD4-83598942C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067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72974" y="432879"/>
            <a:ext cx="586203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3194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52924" y="408560"/>
            <a:ext cx="11286153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99" b="1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749371" y="699913"/>
            <a:ext cx="5819868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2924" y="432879"/>
            <a:ext cx="11286153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3908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Full Slid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2305" y="175390"/>
            <a:ext cx="11847391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3038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  <a:br>
              <a:rPr lang="en-US"/>
            </a:br>
            <a:r>
              <a:rPr lang="en-US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68662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12192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4367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489823" y="1925777"/>
            <a:ext cx="1475292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9226823" y="2048551"/>
            <a:ext cx="1475292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9349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9258" y="2952883"/>
            <a:ext cx="4556067" cy="589709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5696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824" y="5907150"/>
            <a:ext cx="1794353" cy="32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93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19186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10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10"/>
            <a:ext cx="3741179" cy="1246495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199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6" y="1692275"/>
            <a:ext cx="3741738" cy="723275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3619684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16029_PPTTemplates_TitleAndDividers_Corporate-1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57201" y="457201"/>
            <a:ext cx="11266714" cy="59436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308858" y="2040822"/>
            <a:ext cx="4001193" cy="1423957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4199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/>
              <a:t>Divider, call-out, etc.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4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309085" y="3347863"/>
            <a:ext cx="4001193" cy="784830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308858" y="1923691"/>
            <a:ext cx="4001193" cy="111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5775748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9" y="6282609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2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158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316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474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632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1632408267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57480" y="340639"/>
            <a:ext cx="11517138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32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675"/>
            <a:ext cx="4828269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4367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899" b="1">
                <a:solidFill>
                  <a:schemeClr val="accent2"/>
                </a:solidFill>
                <a:latin typeface="+mj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reeform 17"/>
          <p:cNvSpPr/>
          <p:nvPr/>
        </p:nvSpPr>
        <p:spPr>
          <a:xfrm>
            <a:off x="6067374" y="347530"/>
            <a:ext cx="5807244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57481" y="6304778"/>
            <a:ext cx="3932368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519">
                <a:solidFill>
                  <a:schemeClr val="tx1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067374" y="340639"/>
            <a:ext cx="5807245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709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Brand Approved Picture for Cover</a:t>
            </a:r>
            <a:br>
              <a:rPr lang="en-US"/>
            </a:br>
            <a:r>
              <a:rPr lang="en-US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86252" y="892293"/>
            <a:ext cx="4251902" cy="429568"/>
          </a:xfrm>
        </p:spPr>
        <p:txBody>
          <a:bodyPr>
            <a:noAutofit/>
          </a:bodyPr>
          <a:lstStyle>
            <a:lvl1pPr marL="0" indent="0">
              <a:buNone/>
              <a:defRPr lang="en-US" sz="1519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600510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669BB9-E49A-447E-9880-FB005335E3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D52898-CCB7-446F-A76B-77998730B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5590A7-7F72-47C7-8D07-08C16C95B5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3601E-B431-4580-B685-71E90DD5F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F4FAD2-996D-48F9-9900-816E210BA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2939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0485" y="589036"/>
            <a:ext cx="10401515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353330" y="877834"/>
            <a:ext cx="8241507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5127" b="1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3330" y="5785200"/>
            <a:ext cx="6448450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658" b="0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10215964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329">
                <a:solidFill>
                  <a:schemeClr val="accent3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242356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329">
                <a:solidFill>
                  <a:schemeClr val="tx2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0485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66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2535823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6460" y="1167549"/>
            <a:ext cx="11479080" cy="3303566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09"/>
          </a:p>
        </p:txBody>
      </p:sp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501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117661" y="6252279"/>
            <a:ext cx="971787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61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117661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17661" y="440320"/>
            <a:ext cx="971787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3970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6409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9384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3655878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72974" y="432879"/>
            <a:ext cx="586203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54859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52924" y="408560"/>
            <a:ext cx="11286153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99" b="1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749371" y="699913"/>
            <a:ext cx="5819868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2924" y="432879"/>
            <a:ext cx="11286153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3764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Full Slid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2305" y="175390"/>
            <a:ext cx="11847391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3038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  <a:br>
              <a:rPr lang="en-US"/>
            </a:br>
            <a:r>
              <a:rPr lang="en-US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817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8D86B3-1607-4F6C-9663-326290C72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33EED-A545-4708-BA18-C2FFACD8CE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911A66-9600-4F76-996E-6EB63518A6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BA2ECBB-DCB0-4C06-8A69-CEFA1B14B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D5EF19-AFD0-4441-9DC6-B3EBCFF868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66E98A-E534-4561-8425-ECAC7D63F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816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12192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4367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489823" y="1925777"/>
            <a:ext cx="1475292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9226823" y="2048551"/>
            <a:ext cx="1475292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153765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9258" y="2952883"/>
            <a:ext cx="4556067" cy="589709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5696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824" y="5907150"/>
            <a:ext cx="1794353" cy="32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234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79396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10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10"/>
            <a:ext cx="3741179" cy="1246495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199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6" y="1692275"/>
            <a:ext cx="3741738" cy="723275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4408850"/>
      </p:ext>
    </p:extLst>
  </p:cSld>
  <p:clrMapOvr>
    <a:masterClrMapping/>
  </p:clrMapOvr>
  <p:transition spd="slow">
    <p:push dir="u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16029_PPTTemplates_TitleAndDividers_Corporate-1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57201" y="457201"/>
            <a:ext cx="11266714" cy="59436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308858" y="2040822"/>
            <a:ext cx="4001193" cy="1423957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4199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/>
              <a:t>Divider, call-out, etc.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4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309085" y="3347863"/>
            <a:ext cx="4001193" cy="784830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308858" y="1923691"/>
            <a:ext cx="4001193" cy="111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326997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9" y="6282609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2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158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316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474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632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4130815113"/>
      </p:ext>
    </p:extLst>
  </p:cSld>
  <p:clrMapOvr>
    <a:masterClrMapping/>
  </p:clrMapOvr>
  <p:transition spd="slow">
    <p:push dir="u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. Statement Slide - No Image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1" y="461691"/>
            <a:ext cx="11266714" cy="5667887"/>
          </a:xfrm>
          <a:prstGeom prst="rect">
            <a:avLst/>
          </a:prstGeom>
          <a:solidFill>
            <a:srgbClr val="B4E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79486" y="2043974"/>
            <a:ext cx="7630887" cy="807382"/>
          </a:xfrm>
          <a:prstGeom prst="rect">
            <a:avLst/>
          </a:prstGeom>
        </p:spPr>
        <p:txBody>
          <a:bodyPr lIns="0" tIns="137160" rIns="0" bIns="0"/>
          <a:lstStyle>
            <a:lvl1pPr algn="ctr">
              <a:defRPr sz="4199" baseline="0">
                <a:solidFill>
                  <a:schemeClr val="tx1"/>
                </a:solidFill>
                <a:latin typeface="Roboto Slab Regular"/>
                <a:cs typeface="Roboto Slab Regular"/>
              </a:defRPr>
            </a:lvl1pPr>
          </a:lstStyle>
          <a:p>
            <a:r>
              <a:rPr lang="en-US"/>
              <a:t>Statement goes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7310" y="6193619"/>
            <a:ext cx="2844800" cy="365125"/>
          </a:xfrm>
        </p:spPr>
        <p:txBody>
          <a:bodyPr tIns="0" rIns="0" bIns="0" anchor="b"/>
          <a:lstStyle/>
          <a:p>
            <a:fld id="{E58C0DC8-E089-4D4A-A71C-1ACF76415CE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2179486" y="1923691"/>
            <a:ext cx="7630887" cy="111986"/>
          </a:xfrm>
          <a:prstGeom prst="rect">
            <a:avLst/>
          </a:prstGeom>
          <a:solidFill>
            <a:srgbClr val="019C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179486" y="2851357"/>
            <a:ext cx="7630888" cy="507831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normalizeH="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077744" y="4077111"/>
            <a:ext cx="10036514" cy="687931"/>
          </a:xfrm>
          <a:prstGeom prst="rect">
            <a:avLst/>
          </a:prstGeom>
        </p:spPr>
        <p:txBody>
          <a:bodyPr wrap="square" lIns="0" tIns="0" rIns="0" bIns="0" numCol="3" spcCol="914400">
            <a:spAutoFit/>
          </a:bodyPr>
          <a:lstStyle>
            <a:lvl1pPr marL="285724" indent="-285724" algn="ctr">
              <a:lnSpc>
                <a:spcPct val="100000"/>
              </a:lnSpc>
              <a:buFont typeface="Arial"/>
              <a:buChar char="•"/>
              <a:defRPr sz="1800" b="1" normalizeH="0" baseline="0">
                <a:solidFill>
                  <a:schemeClr val="tx1"/>
                </a:solidFill>
                <a:latin typeface="Roboto Medium"/>
                <a:ea typeface="Roboto Slab" charset="0"/>
                <a:cs typeface="Roboto Medium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2308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57480" y="340639"/>
            <a:ext cx="11517138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32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675"/>
            <a:ext cx="4828269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4367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899" b="1">
                <a:solidFill>
                  <a:schemeClr val="accent2"/>
                </a:solidFill>
                <a:latin typeface="+mj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reeform 17"/>
          <p:cNvSpPr/>
          <p:nvPr/>
        </p:nvSpPr>
        <p:spPr>
          <a:xfrm>
            <a:off x="6067374" y="347530"/>
            <a:ext cx="5807244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57481" y="6304778"/>
            <a:ext cx="3932368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519">
                <a:solidFill>
                  <a:schemeClr val="tx1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067374" y="340639"/>
            <a:ext cx="5807245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709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Brand Approved Picture for Cover</a:t>
            </a:r>
            <a:br>
              <a:rPr lang="en-US"/>
            </a:br>
            <a:r>
              <a:rPr lang="en-US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86252" y="892293"/>
            <a:ext cx="4251902" cy="429568"/>
          </a:xfrm>
        </p:spPr>
        <p:txBody>
          <a:bodyPr>
            <a:noAutofit/>
          </a:bodyPr>
          <a:lstStyle>
            <a:lvl1pPr marL="0" indent="0">
              <a:buNone/>
              <a:defRPr lang="en-US" sz="1519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80832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0485" y="589036"/>
            <a:ext cx="10401515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353330" y="877834"/>
            <a:ext cx="8241507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5127" b="1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3330" y="5785200"/>
            <a:ext cx="6448450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658" b="0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10215964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329">
                <a:solidFill>
                  <a:schemeClr val="accent3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242356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329">
                <a:solidFill>
                  <a:schemeClr val="tx2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0485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03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3430454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0B95E0-E647-4B3C-B1CD-C447E8E35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A9D31F-6E63-4451-B8D6-31BABDE4AF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31B6C1-36A0-445D-A259-0515F66DAB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6E2636-4F58-4C6B-B617-FB832637AB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FD8DB02-E1FA-469C-8E37-9D7F5334D4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A355EB9-9287-4C02-A2E7-C987D21EE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AC63015-A1EE-4C99-9190-F5010F5A55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D2FBF72-0690-4509-BEA7-DE95A063C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067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6460" y="1167549"/>
            <a:ext cx="11479080" cy="3303566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09"/>
          </a:p>
        </p:txBody>
      </p:sp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79779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117661" y="6252279"/>
            <a:ext cx="971787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61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117661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17661" y="440320"/>
            <a:ext cx="971787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091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5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06575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23493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18221556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72974" y="432879"/>
            <a:ext cx="586203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6899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52924" y="408560"/>
            <a:ext cx="11286153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99" b="1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749371" y="699913"/>
            <a:ext cx="5819868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2924" y="432879"/>
            <a:ext cx="11286153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83785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Full Slid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2305" y="175390"/>
            <a:ext cx="11847391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3038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  <a:br>
              <a:rPr lang="en-US"/>
            </a:br>
            <a:r>
              <a:rPr lang="en-US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629298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 Soli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12192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4367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489823" y="1925777"/>
            <a:ext cx="1475292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9226823" y="2048551"/>
            <a:ext cx="1475292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1638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9258" y="2952883"/>
            <a:ext cx="4556067" cy="589709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5696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824" y="5907150"/>
            <a:ext cx="1794353" cy="32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25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7673A-15F7-48BA-9765-A90D52814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FE092F-AF0C-40F6-86F1-2FC13DDDD9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4F62580-F926-4448-8F86-E90C3F179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CB390-DDDB-43CD-A8CE-58ED5FBBB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6068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52038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10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10"/>
            <a:ext cx="3741179" cy="1246495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199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6" y="1692275"/>
            <a:ext cx="3741738" cy="723275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4384876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16029_PPTTemplates_TitleAndDividers_Corporate-1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57201" y="457201"/>
            <a:ext cx="11266714" cy="59436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308858" y="2040822"/>
            <a:ext cx="4001193" cy="1423957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4199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/>
              <a:t>Divider, call-out, etc.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4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309085" y="3347863"/>
            <a:ext cx="4001193" cy="784830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308858" y="1923691"/>
            <a:ext cx="4001193" cy="111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9750582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9" y="6282609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2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158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316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474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632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1774573368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. Statement Slide - No Image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1" y="461691"/>
            <a:ext cx="11266714" cy="5667887"/>
          </a:xfrm>
          <a:prstGeom prst="rect">
            <a:avLst/>
          </a:prstGeom>
          <a:solidFill>
            <a:srgbClr val="B4E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79486" y="2043974"/>
            <a:ext cx="7630887" cy="807382"/>
          </a:xfrm>
          <a:prstGeom prst="rect">
            <a:avLst/>
          </a:prstGeom>
        </p:spPr>
        <p:txBody>
          <a:bodyPr lIns="0" tIns="137160" rIns="0" bIns="0"/>
          <a:lstStyle>
            <a:lvl1pPr algn="ctr">
              <a:defRPr sz="4199" baseline="0">
                <a:solidFill>
                  <a:schemeClr val="tx1"/>
                </a:solidFill>
                <a:latin typeface="Roboto Slab Regular"/>
                <a:cs typeface="Roboto Slab Regular"/>
              </a:defRPr>
            </a:lvl1pPr>
          </a:lstStyle>
          <a:p>
            <a:r>
              <a:rPr lang="en-US"/>
              <a:t>Statement goes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7310" y="6193619"/>
            <a:ext cx="2844800" cy="365125"/>
          </a:xfrm>
        </p:spPr>
        <p:txBody>
          <a:bodyPr tIns="0" rIns="0" bIns="0" anchor="b"/>
          <a:lstStyle/>
          <a:p>
            <a:fld id="{E58C0DC8-E089-4D4A-A71C-1ACF76415CE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2179486" y="1923691"/>
            <a:ext cx="7630887" cy="111986"/>
          </a:xfrm>
          <a:prstGeom prst="rect">
            <a:avLst/>
          </a:prstGeom>
          <a:solidFill>
            <a:srgbClr val="019C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179486" y="2851357"/>
            <a:ext cx="7630888" cy="507831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normalizeH="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077744" y="4077111"/>
            <a:ext cx="10036514" cy="687931"/>
          </a:xfrm>
          <a:prstGeom prst="rect">
            <a:avLst/>
          </a:prstGeom>
        </p:spPr>
        <p:txBody>
          <a:bodyPr wrap="square" lIns="0" tIns="0" rIns="0" bIns="0" numCol="3" spcCol="914400">
            <a:spAutoFit/>
          </a:bodyPr>
          <a:lstStyle>
            <a:lvl1pPr marL="285724" indent="-285724" algn="ctr">
              <a:lnSpc>
                <a:spcPct val="100000"/>
              </a:lnSpc>
              <a:buFont typeface="Arial"/>
              <a:buChar char="•"/>
              <a:defRPr sz="1800" b="1" normalizeH="0" baseline="0">
                <a:solidFill>
                  <a:schemeClr val="tx1"/>
                </a:solidFill>
                <a:latin typeface="Roboto Medium"/>
                <a:ea typeface="Roboto Slab" charset="0"/>
                <a:cs typeface="Roboto Medium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704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1D8B8C-95B1-4A75-888C-6F47B788A6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BB646E-5830-425F-A43C-7B76F7979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B0DDFC-5CC3-4615-BAE3-94E35B602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331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7AD60-7658-4DCF-B938-4D7413DB6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C969BF-42EF-4B3C-98C9-A2DBAE3C6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71BDED-61C6-46B1-97C0-8E0A0315B2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CFD46C-D380-4319-A721-B268606C4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C1DF6B-F530-41FE-BDBC-AC738D0C05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BDEA93-AD78-4AB3-928B-89C2987E2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513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560B7-4CE9-4602-977B-9D5B1DAB5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C373567-AEAA-4358-B1C4-60EF619C610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B31572-CAD6-4737-B9F2-11F7A6BFEE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913863-AE13-48A9-8C8C-C794BA5FA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FF5CB7-B7C0-432E-968B-F0336A525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44D5D5-FC0C-4A49-9A23-BF08E4CF3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349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3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5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openDmnd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FA315A-3CBC-4B7F-BF4D-8577C8C34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003EF0-7310-4CFF-A568-B40550805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1E90F8-C2B7-4FD8-9755-CA3E65E841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2D7116-9603-438B-8126-768480A6F49B}" type="datetimeFigureOut">
              <a:rPr lang="en-US" smtClean="0"/>
              <a:t>6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3C2B78-A437-43BE-9C2B-15E1CAC17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7B40F7-4CEF-48E1-82F4-32DCA4BD1D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3A3A78-A845-4F7A-98F7-6BBA4ADF7C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609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openDmnd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811272-DC32-45EE-B1A8-2C7C22519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561469410"/>
              </p:ext>
            </p:extLst>
          </p:nvPr>
        </p:nvGraphicFramePr>
        <p:xfrm>
          <a:off x="1508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811272-DC32-45EE-B1A8-2C7C22519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08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356461" y="1213751"/>
            <a:ext cx="11302958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57730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31678" rtl="0" eaLnBrk="1" latinLnBrk="0" hangingPunct="1">
        <a:spcBef>
          <a:spcPct val="0"/>
        </a:spcBef>
        <a:buNone/>
        <a:defRPr sz="34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27" marR="0" indent="-257727" algn="l" defTabSz="93143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70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596" marR="0" indent="-113038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1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256" marR="0" indent="-272799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1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329" marR="0" indent="-199670" algn="l" defTabSz="93167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2096277" indent="-232920" algn="l" defTabSz="931678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11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795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3795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59634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678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39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67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7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6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4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openDmnd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811272-DC32-45EE-B1A8-2C7C22519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47529102"/>
              </p:ext>
            </p:extLst>
          </p:nvPr>
        </p:nvGraphicFramePr>
        <p:xfrm>
          <a:off x="1508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811272-DC32-45EE-B1A8-2C7C22519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08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56461" y="1213751"/>
            <a:ext cx="11302958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0"/>
    </p:custDataLst>
    <p:extLst>
      <p:ext uri="{BB962C8B-B14F-4D97-AF65-F5344CB8AC3E}">
        <p14:creationId xmlns:p14="http://schemas.microsoft.com/office/powerpoint/2010/main" val="2415746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</p:sldLayoutIdLst>
  <p:txStyles>
    <p:titleStyle>
      <a:lvl1pPr algn="l" defTabSz="931678" rtl="0" eaLnBrk="1" latinLnBrk="0" hangingPunct="1">
        <a:spcBef>
          <a:spcPct val="0"/>
        </a:spcBef>
        <a:buNone/>
        <a:defRPr sz="34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27" marR="0" indent="-257727" algn="l" defTabSz="93143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70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596" marR="0" indent="-113038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1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256" marR="0" indent="-272799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1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329" marR="0" indent="-199670" algn="l" defTabSz="93167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2096277" indent="-232920" algn="l" defTabSz="931678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11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795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3795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59634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678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39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67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7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6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4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openDmnd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811272-DC32-45EE-B1A8-2C7C22519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72380735"/>
              </p:ext>
            </p:extLst>
          </p:nvPr>
        </p:nvGraphicFramePr>
        <p:xfrm>
          <a:off x="1508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811272-DC32-45EE-B1A8-2C7C22519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08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>
          <a:xfrm>
            <a:off x="356461" y="1213751"/>
            <a:ext cx="11302958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0"/>
    </p:custDataLst>
    <p:extLst>
      <p:ext uri="{BB962C8B-B14F-4D97-AF65-F5344CB8AC3E}">
        <p14:creationId xmlns:p14="http://schemas.microsoft.com/office/powerpoint/2010/main" val="3358388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</p:sldLayoutIdLst>
  <p:txStyles>
    <p:titleStyle>
      <a:lvl1pPr algn="l" defTabSz="931678" rtl="0" eaLnBrk="1" latinLnBrk="0" hangingPunct="1">
        <a:spcBef>
          <a:spcPct val="0"/>
        </a:spcBef>
        <a:buNone/>
        <a:defRPr sz="34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27" marR="0" indent="-257727" algn="l" defTabSz="93143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70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596" marR="0" indent="-113038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1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256" marR="0" indent="-272799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1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329" marR="0" indent="-199670" algn="l" defTabSz="93167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2096277" indent="-232920" algn="l" defTabSz="931678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11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795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3795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59634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678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39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67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7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6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4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en/book-books-bookshelf-read-774837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beach-celebration-friends-group-356262/" TargetMode="Externa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oplematters.in/article/employee-engagement/do-you-have-collaboration-space-at-work-14062" TargetMode="External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reativecommons.org/licenses/by-nc-sa/3.0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iff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3.tiff"/><Relationship Id="rId5" Type="http://schemas.openxmlformats.org/officeDocument/2006/relationships/image" Target="../media/image32.tiff"/><Relationship Id="rId4" Type="http://schemas.openxmlformats.org/officeDocument/2006/relationships/image" Target="../media/image31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xmastery.com/ux-training-workshops-june-july-2014/" TargetMode="External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reativecommons.org/licenses/by-nd/3.0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signmentpoint.com/arts/literature/lesson-learned.html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isc.ac.uk/blog/member-stories-using-digital-archives-to-inspire-students-19-nov-2018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reativecommons.org/licenses/by-nc-nd/3.0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versity.org/wiki/Student_Success/Study_Skills" TargetMode="Externa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creativecommons.org/licenses/by-sa/3.0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hyperlink" Target="https://en.wikipedia.org/wiki/Hubert_Dreyfus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954F77B-BC07-46BA-9736-24D7020CF50D}"/>
              </a:ext>
            </a:extLst>
          </p:cNvPr>
          <p:cNvSpPr txBox="1"/>
          <p:nvPr/>
        </p:nvSpPr>
        <p:spPr>
          <a:xfrm>
            <a:off x="0" y="0"/>
            <a:ext cx="12192000" cy="8925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                                          </a:t>
            </a:r>
          </a:p>
          <a:p>
            <a:r>
              <a:rPr lang="en-US" sz="3600" dirty="0">
                <a:solidFill>
                  <a:schemeClr val="accent1"/>
                </a:solidFill>
              </a:rPr>
              <a:t>Take a moment </a:t>
            </a:r>
            <a:br>
              <a:rPr lang="en-US" sz="3600" dirty="0">
                <a:solidFill>
                  <a:schemeClr val="accent1"/>
                </a:solidFill>
              </a:rPr>
            </a:br>
            <a:r>
              <a:rPr lang="en-US" sz="3600" dirty="0">
                <a:solidFill>
                  <a:schemeClr val="accent1"/>
                </a:solidFill>
              </a:rPr>
              <a:t>to complete the </a:t>
            </a:r>
            <a:br>
              <a:rPr lang="en-US" sz="3600" dirty="0">
                <a:solidFill>
                  <a:schemeClr val="accent1"/>
                </a:solidFill>
              </a:rPr>
            </a:br>
            <a:r>
              <a:rPr lang="en-US" sz="3600" dirty="0">
                <a:solidFill>
                  <a:schemeClr val="accent1"/>
                </a:solidFill>
              </a:rPr>
              <a:t>statement below. </a:t>
            </a:r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r>
              <a:rPr lang="en-US" sz="3600" dirty="0"/>
              <a:t>“At the end of the</a:t>
            </a:r>
            <a:br>
              <a:rPr lang="en-US" sz="3600" dirty="0"/>
            </a:br>
            <a:r>
              <a:rPr lang="en-US" sz="3600" dirty="0"/>
              <a:t>  day, studying </a:t>
            </a:r>
            <a:br>
              <a:rPr lang="en-US" sz="3600" dirty="0"/>
            </a:br>
            <a:r>
              <a:rPr lang="en-US" sz="3600" dirty="0"/>
              <a:t>literature is about . . .”</a:t>
            </a:r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endParaRPr lang="en-US" sz="3600" dirty="0"/>
          </a:p>
          <a:p>
            <a:r>
              <a:rPr lang="en-US" dirty="0"/>
              <a:t>		</a:t>
            </a:r>
            <a:r>
              <a:rPr lang="en-US" sz="4000" dirty="0"/>
              <a:t>		</a:t>
            </a:r>
          </a:p>
          <a:p>
            <a:endParaRPr lang="en-US" sz="2000" dirty="0"/>
          </a:p>
          <a:p>
            <a:r>
              <a:rPr lang="en-US" dirty="0"/>
              <a:t>Thanks to Andrew </a:t>
            </a:r>
            <a:r>
              <a:rPr lang="en-US" dirty="0" err="1"/>
              <a:t>Shipe</a:t>
            </a:r>
            <a:r>
              <a:rPr lang="en-US" dirty="0"/>
              <a:t>, Pompano Beach High Schoo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A61310-ACC3-4E14-B9CA-74C61306FA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4634526" y="665247"/>
            <a:ext cx="6564416" cy="49233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377582-CED4-A795-78BB-C8C8D8813A02}"/>
              </a:ext>
            </a:extLst>
          </p:cNvPr>
          <p:cNvSpPr txBox="1"/>
          <p:nvPr/>
        </p:nvSpPr>
        <p:spPr>
          <a:xfrm>
            <a:off x="5556308" y="6059259"/>
            <a:ext cx="66356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i="0" u="none" strike="noStrike" baseline="0" dirty="0">
                <a:latin typeface="Calibri-Identity-H"/>
              </a:rPr>
              <a:t>Thanks to Andrew </a:t>
            </a:r>
            <a:r>
              <a:rPr lang="en-US" sz="1200" b="0" i="0" u="none" strike="noStrike" baseline="0" dirty="0" err="1">
                <a:latin typeface="Calibri-Identity-H"/>
              </a:rPr>
              <a:t>Shipe</a:t>
            </a:r>
            <a:r>
              <a:rPr lang="en-US" sz="1200" b="0" i="0" u="none" strike="noStrike" baseline="0" dirty="0">
                <a:latin typeface="Calibri-Identity-H"/>
              </a:rPr>
              <a:t>, Pompano Beach High School for the permission to use these materials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303549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357270" y="6285971"/>
            <a:ext cx="840441" cy="160715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z="971" i="1" spc="-4" dirty="0">
                <a:latin typeface="Calibri"/>
                <a:cs typeface="Calibri"/>
              </a:rPr>
              <a:t>September</a:t>
            </a:r>
            <a:r>
              <a:rPr sz="971" i="1" spc="-31" dirty="0">
                <a:latin typeface="Calibri"/>
                <a:cs typeface="Calibri"/>
              </a:rPr>
              <a:t> </a:t>
            </a:r>
            <a:r>
              <a:rPr sz="971" i="1" spc="-9" dirty="0">
                <a:latin typeface="Calibri"/>
                <a:cs typeface="Calibri"/>
              </a:rPr>
              <a:t>2019</a:t>
            </a:r>
            <a:endParaRPr sz="971">
              <a:latin typeface="Calibri"/>
              <a:cs typeface="Calibri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368476" y="835735"/>
            <a:ext cx="7560049" cy="0"/>
          </a:xfrm>
          <a:custGeom>
            <a:avLst/>
            <a:gdLst/>
            <a:ahLst/>
            <a:cxnLst/>
            <a:rect l="l" t="t" r="r" b="b"/>
            <a:pathLst>
              <a:path w="8568055">
                <a:moveTo>
                  <a:pt x="0" y="0"/>
                </a:moveTo>
                <a:lnTo>
                  <a:pt x="8567928" y="0"/>
                </a:lnTo>
              </a:path>
            </a:pathLst>
          </a:custGeom>
          <a:ln w="1676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4" name="object 4"/>
          <p:cNvSpPr txBox="1"/>
          <p:nvPr/>
        </p:nvSpPr>
        <p:spPr>
          <a:xfrm>
            <a:off x="2357270" y="385483"/>
            <a:ext cx="4815728" cy="697016"/>
          </a:xfrm>
          <a:prstGeom prst="rect">
            <a:avLst/>
          </a:prstGeom>
        </p:spPr>
        <p:txBody>
          <a:bodyPr vert="horz" wrap="square" lIns="0" tIns="11206" rIns="0" bIns="0" rtlCol="0">
            <a:spAutoFit/>
          </a:bodyPr>
          <a:lstStyle/>
          <a:p>
            <a:pPr marL="11206">
              <a:spcBef>
                <a:spcPts val="88"/>
              </a:spcBef>
            </a:pPr>
            <a:r>
              <a:rPr sz="971" b="1" i="1" dirty="0">
                <a:solidFill>
                  <a:srgbClr val="006FC0"/>
                </a:solidFill>
                <a:latin typeface="Calibri"/>
                <a:cs typeface="Calibri"/>
              </a:rPr>
              <a:t>AP </a:t>
            </a:r>
            <a:r>
              <a:rPr sz="971" b="1" i="1" spc="-4" dirty="0">
                <a:solidFill>
                  <a:srgbClr val="006FC0"/>
                </a:solidFill>
                <a:latin typeface="Calibri"/>
                <a:cs typeface="Calibri"/>
              </a:rPr>
              <a:t>English Literature </a:t>
            </a:r>
            <a:r>
              <a:rPr sz="971" b="1" i="1" dirty="0">
                <a:solidFill>
                  <a:srgbClr val="006FC0"/>
                </a:solidFill>
                <a:latin typeface="Calibri"/>
                <a:cs typeface="Calibri"/>
              </a:rPr>
              <a:t>and </a:t>
            </a:r>
            <a:r>
              <a:rPr sz="971" b="1" i="1" spc="-4" dirty="0">
                <a:solidFill>
                  <a:srgbClr val="006FC0"/>
                </a:solidFill>
                <a:latin typeface="Calibri"/>
                <a:cs typeface="Calibri"/>
              </a:rPr>
              <a:t>Composition Scoring Rubrics (Effective Fall</a:t>
            </a:r>
            <a:r>
              <a:rPr sz="971" b="1" i="1" dirty="0">
                <a:solidFill>
                  <a:srgbClr val="006FC0"/>
                </a:solidFill>
                <a:latin typeface="Calibri"/>
                <a:cs typeface="Calibri"/>
              </a:rPr>
              <a:t> </a:t>
            </a:r>
            <a:r>
              <a:rPr sz="971" b="1" i="1" spc="-4" dirty="0">
                <a:solidFill>
                  <a:srgbClr val="006FC0"/>
                </a:solidFill>
                <a:latin typeface="Calibri"/>
                <a:cs typeface="Calibri"/>
              </a:rPr>
              <a:t>2019)</a:t>
            </a:r>
            <a:endParaRPr sz="971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971">
              <a:latin typeface="Calibri"/>
              <a:cs typeface="Calibri"/>
            </a:endParaRPr>
          </a:p>
          <a:p>
            <a:pPr>
              <a:spcBef>
                <a:spcPts val="9"/>
              </a:spcBef>
            </a:pPr>
            <a:endParaRPr sz="1279">
              <a:latin typeface="Calibri"/>
              <a:cs typeface="Calibri"/>
            </a:endParaRPr>
          </a:p>
          <a:p>
            <a:pPr marL="71721"/>
            <a:r>
              <a:rPr sz="1235" b="1" dirty="0">
                <a:solidFill>
                  <a:srgbClr val="006FC0"/>
                </a:solidFill>
                <a:latin typeface="Lucida Fax"/>
                <a:cs typeface="Lucida Fax"/>
              </a:rPr>
              <a:t>Scoring Rubric </a:t>
            </a:r>
            <a:r>
              <a:rPr sz="1235" b="1" spc="-9" dirty="0">
                <a:solidFill>
                  <a:srgbClr val="006FC0"/>
                </a:solidFill>
                <a:latin typeface="Lucida Fax"/>
                <a:cs typeface="Lucida Fax"/>
              </a:rPr>
              <a:t>for </a:t>
            </a:r>
            <a:r>
              <a:rPr sz="1235" b="1" spc="-4" dirty="0">
                <a:solidFill>
                  <a:srgbClr val="006FC0"/>
                </a:solidFill>
                <a:latin typeface="Lucida Fax"/>
                <a:cs typeface="Lucida Fax"/>
              </a:rPr>
              <a:t>Question </a:t>
            </a:r>
            <a:r>
              <a:rPr sz="1235" b="1" dirty="0">
                <a:solidFill>
                  <a:srgbClr val="006FC0"/>
                </a:solidFill>
                <a:latin typeface="Lucida Fax"/>
                <a:cs typeface="Lucida Fax"/>
              </a:rPr>
              <a:t>1: </a:t>
            </a:r>
            <a:r>
              <a:rPr sz="1235" b="1" spc="-4" dirty="0">
                <a:solidFill>
                  <a:srgbClr val="006FC0"/>
                </a:solidFill>
                <a:latin typeface="Lucida Fax"/>
                <a:cs typeface="Lucida Fax"/>
              </a:rPr>
              <a:t>Poetry Analysis (6</a:t>
            </a:r>
            <a:r>
              <a:rPr sz="1235" b="1" spc="26" dirty="0">
                <a:solidFill>
                  <a:srgbClr val="006FC0"/>
                </a:solidFill>
                <a:latin typeface="Lucida Fax"/>
                <a:cs typeface="Lucida Fax"/>
              </a:rPr>
              <a:t> </a:t>
            </a:r>
            <a:r>
              <a:rPr sz="1235" b="1" spc="-4" dirty="0">
                <a:solidFill>
                  <a:srgbClr val="006FC0"/>
                </a:solidFill>
                <a:latin typeface="Lucida Fax"/>
                <a:cs typeface="Lucida Fax"/>
              </a:rPr>
              <a:t>points)</a:t>
            </a:r>
            <a:endParaRPr sz="1235">
              <a:latin typeface="Lucida Fax"/>
              <a:cs typeface="Lucida Fax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8600450"/>
              </p:ext>
            </p:extLst>
          </p:nvPr>
        </p:nvGraphicFramePr>
        <p:xfrm>
          <a:off x="1702573" y="618187"/>
          <a:ext cx="8278168" cy="61327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28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56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56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5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89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252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75418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58858">
                <a:tc>
                  <a:txBody>
                    <a:bodyPr/>
                    <a:lstStyle/>
                    <a:p>
                      <a:pPr marL="193040" marR="159385" indent="-24765">
                        <a:lnSpc>
                          <a:spcPts val="1210"/>
                        </a:lnSpc>
                        <a:spcBef>
                          <a:spcPts val="15"/>
                        </a:spcBef>
                      </a:pPr>
                      <a:r>
                        <a:rPr sz="900" b="1" dirty="0">
                          <a:latin typeface="Calibri"/>
                          <a:cs typeface="Calibri"/>
                        </a:rPr>
                        <a:t>Re</a:t>
                      </a:r>
                      <a:r>
                        <a:rPr sz="900" b="1" spc="5" dirty="0">
                          <a:latin typeface="Calibri"/>
                          <a:cs typeface="Calibri"/>
                        </a:rPr>
                        <a:t>p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o</a:t>
                      </a:r>
                      <a:r>
                        <a:rPr sz="900" b="1" spc="5" dirty="0">
                          <a:latin typeface="Calibri"/>
                          <a:cs typeface="Calibri"/>
                        </a:rPr>
                        <a:t>r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900" b="1" spc="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900" b="1" dirty="0">
                          <a:latin typeface="Calibri"/>
                          <a:cs typeface="Calibri"/>
                        </a:rPr>
                        <a:t>g  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Category</a:t>
                      </a:r>
                      <a:endParaRPr sz="900">
                        <a:latin typeface="Calibri"/>
                        <a:cs typeface="Calibri"/>
                      </a:endParaRPr>
                    </a:p>
                  </a:txBody>
                  <a:tcPr marL="0" marR="0" marT="1743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C9ECFF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95"/>
                        </a:spcBef>
                      </a:pPr>
                      <a:r>
                        <a:rPr sz="900" b="1" spc="-5" dirty="0">
                          <a:latin typeface="Calibri"/>
                          <a:cs typeface="Calibri"/>
                        </a:rPr>
                        <a:t>Scoring</a:t>
                      </a:r>
                      <a:r>
                        <a:rPr sz="9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900" b="1" spc="-5" dirty="0">
                          <a:latin typeface="Calibri"/>
                          <a:cs typeface="Calibri"/>
                        </a:rPr>
                        <a:t>Criteria</a:t>
                      </a:r>
                      <a:endParaRPr sz="9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C9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6939">
                <a:tc>
                  <a:txBody>
                    <a:bodyPr/>
                    <a:lstStyle/>
                    <a:p>
                      <a:pPr algn="ctr">
                        <a:lnSpc>
                          <a:spcPts val="1070"/>
                        </a:lnSpc>
                      </a:pP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Row</a:t>
                      </a:r>
                      <a:r>
                        <a:rPr sz="800" b="1" spc="-9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A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800" b="1" spc="-5" dirty="0">
                          <a:latin typeface="Calibri"/>
                          <a:cs typeface="Calibri"/>
                        </a:rPr>
                        <a:t>Thesis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800" b="1" spc="-5" dirty="0">
                          <a:latin typeface="Calibri"/>
                          <a:cs typeface="Calibri"/>
                        </a:rPr>
                        <a:t>(0-1</a:t>
                      </a:r>
                      <a:r>
                        <a:rPr sz="800" b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points)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66675">
                        <a:lnSpc>
                          <a:spcPts val="1070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0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For any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 following: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23520" indent="-157480">
                        <a:lnSpc>
                          <a:spcPct val="100000"/>
                        </a:lnSpc>
                        <a:spcBef>
                          <a:spcPts val="60"/>
                        </a:spcBef>
                        <a:buFont typeface="Symbol"/>
                        <a:buChar char=""/>
                        <a:tabLst>
                          <a:tab pos="224154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There is no defensible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sis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23520" indent="-157480">
                        <a:lnSpc>
                          <a:spcPct val="100000"/>
                        </a:lnSpc>
                        <a:spcBef>
                          <a:spcPts val="70"/>
                        </a:spcBef>
                        <a:buFont typeface="Symbol"/>
                        <a:buChar char=""/>
                        <a:tabLst>
                          <a:tab pos="224154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The intended thesis only restates the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rompt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23520" indent="-157480">
                        <a:lnSpc>
                          <a:spcPct val="100000"/>
                        </a:lnSpc>
                        <a:spcBef>
                          <a:spcPts val="60"/>
                        </a:spcBef>
                        <a:buFont typeface="Symbol"/>
                        <a:buChar char=""/>
                        <a:tabLst>
                          <a:tab pos="224154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The intended thesis provide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summary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 issue with no apparen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r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oherent</a:t>
                      </a:r>
                      <a:r>
                        <a:rPr sz="800" spc="11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laim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23520" indent="-157480">
                        <a:lnSpc>
                          <a:spcPct val="100000"/>
                        </a:lnSpc>
                        <a:spcBef>
                          <a:spcPts val="70"/>
                        </a:spcBef>
                        <a:buFont typeface="Symbol"/>
                        <a:buChar char=""/>
                        <a:tabLst>
                          <a:tab pos="224154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There i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sis, but it doe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not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spond to the</a:t>
                      </a:r>
                      <a:r>
                        <a:rPr sz="800" spc="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rompt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 marL="66675">
                        <a:lnSpc>
                          <a:spcPts val="1070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Responds to the promp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with a thesis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at present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800" spc="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defensible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9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interpretation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the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oem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278">
                <a:tc gridSpan="7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C9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964">
                <a:tc>
                  <a:txBody>
                    <a:bodyPr/>
                    <a:lstStyle/>
                    <a:p>
                      <a:pPr marL="276860">
                        <a:lnSpc>
                          <a:spcPts val="1055"/>
                        </a:lnSpc>
                      </a:pP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Row</a:t>
                      </a:r>
                      <a:r>
                        <a:rPr sz="800" b="1" spc="-10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B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55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0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55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55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 gridSpan="2">
                  <a:txBody>
                    <a:bodyPr/>
                    <a:lstStyle/>
                    <a:p>
                      <a:pPr marL="66675">
                        <a:lnSpc>
                          <a:spcPts val="1055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3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55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4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2116">
                <a:tc>
                  <a:txBody>
                    <a:bodyPr/>
                    <a:lstStyle/>
                    <a:p>
                      <a:pPr algn="ctr">
                        <a:lnSpc>
                          <a:spcPts val="1055"/>
                        </a:lnSpc>
                      </a:pPr>
                      <a:r>
                        <a:rPr sz="800" b="1" spc="-5" dirty="0">
                          <a:latin typeface="Calibri"/>
                          <a:cs typeface="Calibri"/>
                        </a:rPr>
                        <a:t>Evidence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800" b="1" spc="-10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118745" marR="113030" algn="ctr">
                        <a:lnSpc>
                          <a:spcPct val="120000"/>
                        </a:lnSpc>
                        <a:spcBef>
                          <a:spcPts val="10"/>
                        </a:spcBef>
                      </a:pPr>
                      <a:r>
                        <a:rPr sz="800" b="1" dirty="0">
                          <a:latin typeface="Calibri"/>
                          <a:cs typeface="Calibri"/>
                        </a:rPr>
                        <a:t>C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omm</a:t>
                      </a:r>
                      <a:r>
                        <a:rPr sz="800" b="1" dirty="0">
                          <a:latin typeface="Calibri"/>
                          <a:cs typeface="Calibri"/>
                        </a:rPr>
                        <a:t>e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n</a:t>
                      </a:r>
                      <a:r>
                        <a:rPr sz="800" b="1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800" b="1" dirty="0">
                          <a:latin typeface="Calibri"/>
                          <a:cs typeface="Calibri"/>
                        </a:rPr>
                        <a:t>ry 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(0-4</a:t>
                      </a:r>
                      <a:r>
                        <a:rPr sz="8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points)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6675" marR="172085">
                        <a:lnSpc>
                          <a:spcPts val="109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Simply restates thesis (if  present), repeats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149225">
                        <a:lnSpc>
                          <a:spcPts val="1090"/>
                        </a:lnSpc>
                        <a:spcBef>
                          <a:spcPts val="1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provided information,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r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offers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information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ts val="107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irrelevant to the prompt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1162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65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VIDENCE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142240">
                        <a:lnSpc>
                          <a:spcPts val="1100"/>
                        </a:lnSpc>
                        <a:spcBef>
                          <a:spcPts val="3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Provides evidenc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that</a:t>
                      </a:r>
                      <a:r>
                        <a:rPr sz="8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is  mostly general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65"/>
                        </a:lnSpc>
                      </a:pPr>
                      <a:r>
                        <a:rPr sz="800" dirty="0">
                          <a:latin typeface="Calibri"/>
                          <a:cs typeface="Calibri"/>
                        </a:rPr>
                        <a:t>EVIDENCE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227965">
                        <a:lnSpc>
                          <a:spcPct val="101699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Provides some</a:t>
                      </a:r>
                      <a:r>
                        <a:rPr sz="800" spc="-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specific,  relevant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evidence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 gridSpan="2">
                  <a:txBody>
                    <a:bodyPr/>
                    <a:lstStyle/>
                    <a:p>
                      <a:pPr marL="66675">
                        <a:lnSpc>
                          <a:spcPts val="1065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VIDENCE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Provides specific evidence to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431165">
                        <a:lnSpc>
                          <a:spcPct val="101099"/>
                        </a:lnSpc>
                        <a:spcBef>
                          <a:spcPts val="1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support all claim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in 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65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VIDENCE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Provides specific evidence to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431165">
                        <a:lnSpc>
                          <a:spcPct val="101099"/>
                        </a:lnSpc>
                        <a:spcBef>
                          <a:spcPts val="1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support all claim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in 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9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95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950"/>
                        </a:lnSpc>
                      </a:pPr>
                      <a:r>
                        <a:rPr sz="800" spc="-10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 gridSpan="2">
                  <a:txBody>
                    <a:bodyPr/>
                    <a:lstStyle/>
                    <a:p>
                      <a:pPr marL="66675">
                        <a:lnSpc>
                          <a:spcPts val="95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95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0853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1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COMMENTARY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Summarize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evidence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84455">
                        <a:lnSpc>
                          <a:spcPct val="101699"/>
                        </a:lnSpc>
                        <a:spcBef>
                          <a:spcPts val="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bu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does not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explain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 evidence support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the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student’s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argument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1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COMMENTARY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110489">
                        <a:lnSpc>
                          <a:spcPct val="101699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xplain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 some of</a:t>
                      </a:r>
                      <a:r>
                        <a:rPr sz="800" spc="-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the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evidence relates to the  student’s argument, but  no 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is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established,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r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 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 is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faulty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66675">
                        <a:lnSpc>
                          <a:spcPts val="101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COMMENTARY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123825">
                        <a:lnSpc>
                          <a:spcPts val="1100"/>
                        </a:lnSpc>
                        <a:spcBef>
                          <a:spcPts val="3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xplain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 some of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e evidence  support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.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6675" marR="161290">
                        <a:lnSpc>
                          <a:spcPct val="101099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xplain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 at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eas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ne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terary  elemen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r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echnique in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the poem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ontributes to its meaning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1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COMMENTARY: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Consistently explain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</a:t>
                      </a:r>
                      <a:r>
                        <a:rPr sz="80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the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507365">
                        <a:lnSpc>
                          <a:spcPct val="101099"/>
                        </a:lnSpc>
                        <a:spcBef>
                          <a:spcPts val="1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vidence support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ne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reasoning.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ND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  <a:p>
                      <a:pPr marL="66675" marR="71120">
                        <a:lnSpc>
                          <a:spcPct val="102200"/>
                        </a:lnSpc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xplain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how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multiple literary  element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r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echnique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in the poem 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ontribute to its</a:t>
                      </a:r>
                      <a:r>
                        <a:rPr sz="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meaning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5660">
                <a:tc gridSpan="7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C9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2516">
                <a:tc>
                  <a:txBody>
                    <a:bodyPr/>
                    <a:lstStyle/>
                    <a:p>
                      <a:pPr algn="ctr">
                        <a:lnSpc>
                          <a:spcPts val="1070"/>
                        </a:lnSpc>
                      </a:pP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Row</a:t>
                      </a:r>
                      <a:r>
                        <a:rPr sz="800" b="1" spc="-10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C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92710" marR="84455" algn="ctr">
                        <a:lnSpc>
                          <a:spcPct val="120000"/>
                        </a:lnSpc>
                      </a:pPr>
                      <a:r>
                        <a:rPr sz="800" b="1" spc="-10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op</a:t>
                      </a:r>
                      <a:r>
                        <a:rPr sz="800" b="1" spc="5" dirty="0">
                          <a:latin typeface="Calibri"/>
                          <a:cs typeface="Calibri"/>
                        </a:rPr>
                        <a:t>h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i</a:t>
                      </a:r>
                      <a:r>
                        <a:rPr sz="800" b="1" dirty="0">
                          <a:latin typeface="Calibri"/>
                          <a:cs typeface="Calibri"/>
                        </a:rPr>
                        <a:t>s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tica</a:t>
                      </a:r>
                      <a:r>
                        <a:rPr sz="800" b="1" spc="10" dirty="0">
                          <a:latin typeface="Calibri"/>
                          <a:cs typeface="Calibri"/>
                        </a:rPr>
                        <a:t>t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io</a:t>
                      </a:r>
                      <a:r>
                        <a:rPr sz="800" b="1" dirty="0">
                          <a:latin typeface="Calibri"/>
                          <a:cs typeface="Calibri"/>
                        </a:rPr>
                        <a:t>n 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(0-1</a:t>
                      </a:r>
                      <a:r>
                        <a:rPr sz="8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b="1" spc="-5" dirty="0">
                          <a:latin typeface="Calibri"/>
                          <a:cs typeface="Calibri"/>
                        </a:rPr>
                        <a:t>points)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ts val="1070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0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s</a:t>
                      </a:r>
                      <a:endParaRPr sz="800">
                        <a:latin typeface="Calibri"/>
                        <a:cs typeface="Calibri"/>
                      </a:endParaRPr>
                    </a:p>
                    <a:p>
                      <a:pPr marL="66675" marR="74295">
                        <a:lnSpc>
                          <a:spcPct val="102200"/>
                        </a:lnSpc>
                        <a:spcBef>
                          <a:spcPts val="190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Doe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not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mee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the</a:t>
                      </a:r>
                      <a:r>
                        <a:rPr sz="8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riteria 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for one</a:t>
                      </a:r>
                      <a:r>
                        <a:rPr sz="8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oint.</a:t>
                      </a:r>
                      <a:endParaRPr sz="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5">
                  <a:txBody>
                    <a:bodyPr/>
                    <a:lstStyle/>
                    <a:p>
                      <a:pPr marL="66675">
                        <a:lnSpc>
                          <a:spcPts val="1070"/>
                        </a:lnSpc>
                      </a:pP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1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 point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66675">
                        <a:lnSpc>
                          <a:spcPct val="100000"/>
                        </a:lnSpc>
                        <a:spcBef>
                          <a:spcPts val="215"/>
                        </a:spcBef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Demonstrates sophistication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of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though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nd/or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develops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complex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literary</a:t>
                      </a:r>
                      <a:r>
                        <a:rPr sz="80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argument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66675" marR="224154">
                        <a:lnSpc>
                          <a:spcPct val="101200"/>
                        </a:lnSpc>
                        <a:spcBef>
                          <a:spcPts val="254"/>
                        </a:spcBef>
                      </a:pP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Responses that earn this point may demonstrate </a:t>
                      </a: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a 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sophistication of thought or develop </a:t>
                      </a:r>
                      <a:r>
                        <a:rPr sz="800" b="1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a 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complex literary argument by doing any </a:t>
                      </a:r>
                      <a:r>
                        <a:rPr sz="800" b="1" spc="-10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of </a:t>
                      </a:r>
                      <a:r>
                        <a:rPr sz="800" b="1" spc="-5" dirty="0">
                          <a:solidFill>
                            <a:srgbClr val="006FC0"/>
                          </a:solidFill>
                          <a:latin typeface="Calibri"/>
                          <a:cs typeface="Calibri"/>
                        </a:rPr>
                        <a:t>the  following: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86385" indent="-229235">
                        <a:lnSpc>
                          <a:spcPct val="100000"/>
                        </a:lnSpc>
                        <a:spcBef>
                          <a:spcPts val="20"/>
                        </a:spcBef>
                        <a:buAutoNum type="arabicPeriod"/>
                        <a:tabLst>
                          <a:tab pos="286385" algn="l"/>
                          <a:tab pos="287020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Identifying and exploring complexities or tensions within the</a:t>
                      </a:r>
                      <a:r>
                        <a:rPr sz="800" spc="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oem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86385" indent="-229235">
                        <a:lnSpc>
                          <a:spcPct val="100000"/>
                        </a:lnSpc>
                        <a:spcBef>
                          <a:spcPts val="219"/>
                        </a:spcBef>
                        <a:buAutoNum type="arabicPeriod"/>
                        <a:tabLst>
                          <a:tab pos="286385" algn="l"/>
                          <a:tab pos="287020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Illuminating the student’s interpretation by situating it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within 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broader</a:t>
                      </a:r>
                      <a:r>
                        <a:rPr sz="8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context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86385" indent="-229235">
                        <a:lnSpc>
                          <a:spcPct val="100000"/>
                        </a:lnSpc>
                        <a:spcBef>
                          <a:spcPts val="215"/>
                        </a:spcBef>
                        <a:buAutoNum type="arabicPeriod"/>
                        <a:tabLst>
                          <a:tab pos="286385" algn="l"/>
                          <a:tab pos="287020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Accounting for alternative interpretations of the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oem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 marL="286385" indent="-229235">
                        <a:lnSpc>
                          <a:spcPct val="100000"/>
                        </a:lnSpc>
                        <a:spcBef>
                          <a:spcPts val="215"/>
                        </a:spcBef>
                        <a:buAutoNum type="arabicPeriod"/>
                        <a:tabLst>
                          <a:tab pos="286385" algn="l"/>
                          <a:tab pos="287020" algn="l"/>
                        </a:tabLst>
                      </a:pPr>
                      <a:r>
                        <a:rPr sz="800" spc="-5" dirty="0">
                          <a:latin typeface="Calibri"/>
                          <a:cs typeface="Calibri"/>
                        </a:rPr>
                        <a:t>Employing 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a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style that is consistently vivid and</a:t>
                      </a:r>
                      <a:r>
                        <a:rPr sz="80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spc="-5" dirty="0">
                          <a:latin typeface="Calibri"/>
                          <a:cs typeface="Calibri"/>
                        </a:rPr>
                        <a:t>persuasive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700" dirty="0">
                        <a:latin typeface="Times New Roman"/>
                        <a:cs typeface="Times New Roman"/>
                      </a:endParaRPr>
                    </a:p>
                    <a:p>
                      <a:pPr marL="57785" marR="244475">
                        <a:lnSpc>
                          <a:spcPct val="102299"/>
                        </a:lnSpc>
                        <a:spcBef>
                          <a:spcPts val="509"/>
                        </a:spcBef>
                      </a:pPr>
                      <a:r>
                        <a:rPr sz="800" i="1" dirty="0">
                          <a:latin typeface="Calibri"/>
                          <a:cs typeface="Calibri"/>
                        </a:rPr>
                        <a:t>This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point should </a:t>
                      </a:r>
                      <a:r>
                        <a:rPr sz="800" i="1" dirty="0">
                          <a:latin typeface="Calibri"/>
                          <a:cs typeface="Calibri"/>
                        </a:rPr>
                        <a:t>be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awarded only </a:t>
                      </a:r>
                      <a:r>
                        <a:rPr sz="800" i="1" spc="-10" dirty="0">
                          <a:latin typeface="Calibri"/>
                          <a:cs typeface="Calibri"/>
                        </a:rPr>
                        <a:t>if </a:t>
                      </a:r>
                      <a:r>
                        <a:rPr sz="800" i="1" dirty="0">
                          <a:latin typeface="Calibri"/>
                          <a:cs typeface="Calibri"/>
                        </a:rPr>
                        <a:t>the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sophistication of thought or complex understanding </a:t>
                      </a:r>
                      <a:r>
                        <a:rPr sz="800" i="1" spc="-10" dirty="0">
                          <a:latin typeface="Calibri"/>
                          <a:cs typeface="Calibri"/>
                        </a:rPr>
                        <a:t>is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part of the student’s argument, not merely </a:t>
                      </a:r>
                      <a:r>
                        <a:rPr sz="800" i="1" dirty="0">
                          <a:latin typeface="Calibri"/>
                          <a:cs typeface="Calibri"/>
                        </a:rPr>
                        <a:t>a  phrase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or</a:t>
                      </a:r>
                      <a:r>
                        <a:rPr sz="800" i="1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800" i="1" spc="-5" dirty="0">
                          <a:latin typeface="Calibri"/>
                          <a:cs typeface="Calibri"/>
                        </a:rPr>
                        <a:t>reference.</a:t>
                      </a:r>
                      <a:endParaRPr sz="8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object 6"/>
          <p:cNvSpPr/>
          <p:nvPr/>
        </p:nvSpPr>
        <p:spPr>
          <a:xfrm>
            <a:off x="2654111" y="3222322"/>
            <a:ext cx="210109" cy="11766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7" name="object 7"/>
          <p:cNvSpPr/>
          <p:nvPr/>
        </p:nvSpPr>
        <p:spPr>
          <a:xfrm>
            <a:off x="2645708" y="3382012"/>
            <a:ext cx="201696" cy="1176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8" name="object 8"/>
          <p:cNvSpPr/>
          <p:nvPr/>
        </p:nvSpPr>
        <p:spPr>
          <a:xfrm>
            <a:off x="2645708" y="3524888"/>
            <a:ext cx="201704" cy="1176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9" name="object 9"/>
          <p:cNvSpPr/>
          <p:nvPr/>
        </p:nvSpPr>
        <p:spPr>
          <a:xfrm>
            <a:off x="2654110" y="3692159"/>
            <a:ext cx="193301" cy="10925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0" name="object 10"/>
          <p:cNvSpPr/>
          <p:nvPr/>
        </p:nvSpPr>
        <p:spPr>
          <a:xfrm>
            <a:off x="2647109" y="5369753"/>
            <a:ext cx="201696" cy="11765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1" name="object 11"/>
          <p:cNvSpPr/>
          <p:nvPr/>
        </p:nvSpPr>
        <p:spPr>
          <a:xfrm>
            <a:off x="2647108" y="5512629"/>
            <a:ext cx="201705" cy="11766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2" name="object 12"/>
          <p:cNvSpPr/>
          <p:nvPr/>
        </p:nvSpPr>
        <p:spPr>
          <a:xfrm>
            <a:off x="2655514" y="5679913"/>
            <a:ext cx="193300" cy="10925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13" name="object 13"/>
          <p:cNvSpPr/>
          <p:nvPr/>
        </p:nvSpPr>
        <p:spPr>
          <a:xfrm>
            <a:off x="2665796" y="1988974"/>
            <a:ext cx="200709" cy="11950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 shadeToTitle="1">
        <a:gradFill flip="none" rotWithShape="1">
          <a:gsLst>
            <a:gs pos="0">
              <a:srgbClr val="0070C0"/>
            </a:gs>
            <a:gs pos="100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path path="shap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8F50C9D-40D9-4333-98EC-C884DDB6565B}"/>
              </a:ext>
            </a:extLst>
          </p:cNvPr>
          <p:cNvSpPr txBox="1"/>
          <p:nvPr/>
        </p:nvSpPr>
        <p:spPr>
          <a:xfrm>
            <a:off x="617621" y="642724"/>
            <a:ext cx="5314543" cy="33759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C00000"/>
                </a:solidFill>
              </a:rPr>
              <a:t>Sample taxonomy of skill category 7 </a:t>
            </a:r>
            <a:r>
              <a:rPr lang="en-US" sz="2000" i="1" dirty="0"/>
              <a:t>(</a:t>
            </a:r>
            <a:r>
              <a:rPr lang="en-US" sz="1600" i="1" dirty="0"/>
              <a:t>not in the language as written in the Course Skills, but stated in your simpler words</a:t>
            </a:r>
            <a:r>
              <a:rPr lang="en-US" sz="2000" i="1" dirty="0"/>
              <a:t>)</a:t>
            </a:r>
            <a:br>
              <a:rPr lang="en-US" sz="2000" i="1" dirty="0"/>
            </a:br>
            <a:br>
              <a:rPr lang="en-US" sz="2000" dirty="0"/>
            </a:br>
            <a:r>
              <a:rPr lang="en-US" sz="2000" b="1" dirty="0"/>
              <a:t>(From the scoring rubric)</a:t>
            </a:r>
            <a:br>
              <a:rPr lang="en-US" sz="2000" b="1" dirty="0"/>
            </a:br>
            <a:r>
              <a:rPr lang="en-US" sz="2000" b="1" dirty="0"/>
              <a:t>Summarizing a literary text (</a:t>
            </a:r>
            <a:r>
              <a:rPr lang="en-US" sz="2000" b="1" dirty="0">
                <a:solidFill>
                  <a:schemeClr val="accent1"/>
                </a:solidFill>
              </a:rPr>
              <a:t>foundational</a:t>
            </a:r>
            <a:r>
              <a:rPr lang="en-US" sz="2000" b="1" dirty="0"/>
              <a:t>)</a:t>
            </a:r>
            <a:br>
              <a:rPr lang="en-US" sz="2000" b="1" dirty="0"/>
            </a:br>
            <a:r>
              <a:rPr lang="en-US" sz="2000" b="1" dirty="0"/>
              <a:t>Articulating a defensible interpretation of literary text (</a:t>
            </a:r>
            <a:r>
              <a:rPr lang="en-US" sz="2000" b="1" dirty="0">
                <a:solidFill>
                  <a:schemeClr val="accent1"/>
                </a:solidFill>
              </a:rPr>
              <a:t>foundationa</a:t>
            </a:r>
            <a:r>
              <a:rPr lang="en-US" sz="2000" b="1" dirty="0"/>
              <a:t>l)</a:t>
            </a:r>
            <a:br>
              <a:rPr lang="en-US" sz="2000" b="1" dirty="0"/>
            </a:br>
            <a:r>
              <a:rPr lang="en-US" sz="2000" b="1" dirty="0"/>
              <a:t>Supporting the interpretation with specific references to the text, rather than a summary (</a:t>
            </a:r>
            <a:r>
              <a:rPr lang="en-US" sz="2000" b="1" dirty="0">
                <a:solidFill>
                  <a:schemeClr val="accent1"/>
                </a:solidFill>
              </a:rPr>
              <a:t>foundational</a:t>
            </a:r>
            <a:r>
              <a:rPr lang="en-US" sz="2000" b="1" dirty="0"/>
              <a:t>)</a:t>
            </a:r>
            <a:br>
              <a:rPr lang="en-US" sz="2000" b="1" dirty="0"/>
            </a:br>
            <a:r>
              <a:rPr lang="en-US" sz="2000" b="1" dirty="0"/>
              <a:t>Planning and using a coherent line of reasoning in a response (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competent</a:t>
            </a:r>
            <a:r>
              <a:rPr lang="en-US" sz="2000" b="1" dirty="0"/>
              <a:t>)</a:t>
            </a:r>
            <a:br>
              <a:rPr lang="en-US" sz="2000" b="1" dirty="0"/>
            </a:br>
            <a:r>
              <a:rPr lang="en-US" sz="2000" b="1" dirty="0"/>
              <a:t>Explaining the connection(s) between specific reference(s) and a defensible interpretation (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competent</a:t>
            </a:r>
            <a:r>
              <a:rPr lang="en-US" sz="2000" b="1" dirty="0"/>
              <a:t>)</a:t>
            </a:r>
            <a:br>
              <a:rPr lang="en-US" sz="2000" b="1" dirty="0"/>
            </a:br>
            <a:r>
              <a:rPr lang="en-US" sz="2000" b="1" dirty="0"/>
              <a:t>Doing all of the above with consistency (</a:t>
            </a:r>
            <a:r>
              <a:rPr lang="en-US" sz="2000" b="1" dirty="0">
                <a:solidFill>
                  <a:srgbClr val="C00000"/>
                </a:solidFill>
              </a:rPr>
              <a:t>expert</a:t>
            </a:r>
            <a:r>
              <a:rPr lang="en-US" sz="2000" b="1" dirty="0"/>
              <a:t>)</a:t>
            </a:r>
            <a:br>
              <a:rPr lang="en-US" sz="2000" b="1" dirty="0"/>
            </a:br>
            <a:r>
              <a:rPr lang="en-US" sz="2000" b="1" dirty="0"/>
              <a:t>Doing all of the above with sophistication (clarity, grace, insight) (</a:t>
            </a:r>
            <a:r>
              <a:rPr lang="en-US" sz="2000" b="1" dirty="0">
                <a:solidFill>
                  <a:srgbClr val="C00000"/>
                </a:solidFill>
              </a:rPr>
              <a:t>expert</a:t>
            </a:r>
            <a:r>
              <a:rPr lang="en-US" sz="2000" b="1" dirty="0"/>
              <a:t>)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F62D2A7-8207-488C-9F46-316BA81A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582780" y="-2008"/>
            <a:ext cx="5609220" cy="5840278"/>
          </a:xfrm>
          <a:custGeom>
            <a:avLst/>
            <a:gdLst>
              <a:gd name="connsiteX0" fmla="*/ 0 w 5609220"/>
              <a:gd name="connsiteY0" fmla="*/ 0 h 5840278"/>
              <a:gd name="connsiteX1" fmla="*/ 4637091 w 5609220"/>
              <a:gd name="connsiteY1" fmla="*/ 0 h 5840278"/>
              <a:gd name="connsiteX2" fmla="*/ 4822569 w 5609220"/>
              <a:gd name="connsiteY2" fmla="*/ 204077 h 5840278"/>
              <a:gd name="connsiteX3" fmla="*/ 5609220 w 5609220"/>
              <a:gd name="connsiteY3" fmla="*/ 2395363 h 5840278"/>
              <a:gd name="connsiteX4" fmla="*/ 2164305 w 5609220"/>
              <a:gd name="connsiteY4" fmla="*/ 5840278 h 5840278"/>
              <a:gd name="connsiteX5" fmla="*/ 238220 w 5609220"/>
              <a:gd name="connsiteY5" fmla="*/ 5251941 h 5840278"/>
              <a:gd name="connsiteX6" fmla="*/ 0 w 5609220"/>
              <a:gd name="connsiteY6" fmla="*/ 5073803 h 5840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9220" h="5840278">
                <a:moveTo>
                  <a:pt x="0" y="0"/>
                </a:moveTo>
                <a:lnTo>
                  <a:pt x="4637091" y="0"/>
                </a:lnTo>
                <a:lnTo>
                  <a:pt x="4822569" y="204077"/>
                </a:lnTo>
                <a:cubicBezTo>
                  <a:pt x="5314007" y="799562"/>
                  <a:pt x="5609220" y="1562987"/>
                  <a:pt x="5609220" y="2395363"/>
                </a:cubicBezTo>
                <a:cubicBezTo>
                  <a:pt x="5609220" y="4297937"/>
                  <a:pt x="4066879" y="5840278"/>
                  <a:pt x="2164305" y="5840278"/>
                </a:cubicBezTo>
                <a:cubicBezTo>
                  <a:pt x="1450840" y="5840278"/>
                  <a:pt x="788032" y="5623387"/>
                  <a:pt x="238220" y="5251941"/>
                </a:cubicBezTo>
                <a:lnTo>
                  <a:pt x="0" y="5073803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3906A3-783D-4BDE-BEE8-1DCB9FE3B4A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l="2403" r="1363" b="-2"/>
          <a:stretch/>
        </p:blipFill>
        <p:spPr>
          <a:xfrm>
            <a:off x="6750141" y="-2"/>
            <a:ext cx="5441859" cy="5654940"/>
          </a:xfrm>
          <a:custGeom>
            <a:avLst/>
            <a:gdLst/>
            <a:ahLst/>
            <a:cxnLst/>
            <a:rect l="l" t="t" r="r" b="b"/>
            <a:pathLst>
              <a:path w="5441859" h="5654940">
                <a:moveTo>
                  <a:pt x="1041368" y="0"/>
                </a:moveTo>
                <a:lnTo>
                  <a:pt x="5441859" y="0"/>
                </a:lnTo>
                <a:lnTo>
                  <a:pt x="5441859" y="4820612"/>
                </a:lnTo>
                <a:lnTo>
                  <a:pt x="5285166" y="4957981"/>
                </a:lnTo>
                <a:cubicBezTo>
                  <a:pt x="4729628" y="5394557"/>
                  <a:pt x="4029081" y="5654940"/>
                  <a:pt x="3267719" y="5654940"/>
                </a:cubicBezTo>
                <a:cubicBezTo>
                  <a:pt x="1463008" y="5654940"/>
                  <a:pt x="0" y="4191932"/>
                  <a:pt x="0" y="2387221"/>
                </a:cubicBezTo>
                <a:cubicBezTo>
                  <a:pt x="0" y="1484866"/>
                  <a:pt x="365752" y="667936"/>
                  <a:pt x="957093" y="7659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01219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E8A2031-601B-4166-9C51-71C1893F9C72}"/>
              </a:ext>
            </a:extLst>
          </p:cNvPr>
          <p:cNvSpPr txBox="1"/>
          <p:nvPr/>
        </p:nvSpPr>
        <p:spPr>
          <a:xfrm>
            <a:off x="193183" y="412124"/>
            <a:ext cx="9272789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In diverse small groups (representing all four “roads” as</a:t>
            </a:r>
            <a:br>
              <a:rPr lang="en-US" sz="2000" b="1" dirty="0"/>
            </a:br>
            <a:r>
              <a:rPr lang="en-US" sz="2000" b="1" dirty="0"/>
              <a:t>much as possible) discuss…</a:t>
            </a:r>
          </a:p>
          <a:p>
            <a:endParaRPr lang="en-US" sz="2000" dirty="0"/>
          </a:p>
          <a:p>
            <a:endParaRPr lang="en-US" sz="2800" b="1" dirty="0"/>
          </a:p>
          <a:p>
            <a:endParaRPr lang="en-US" sz="2800" b="1" dirty="0"/>
          </a:p>
          <a:p>
            <a:r>
              <a:rPr lang="en-US" sz="2800" b="1" dirty="0"/>
              <a:t>…</a:t>
            </a:r>
            <a:r>
              <a:rPr lang="en-US" sz="2800" b="1" dirty="0">
                <a:solidFill>
                  <a:srgbClr val="C00000"/>
                </a:solidFill>
              </a:rPr>
              <a:t>one</a:t>
            </a:r>
            <a:r>
              <a:rPr lang="en-US" sz="2800" b="1" dirty="0"/>
              <a:t> of these questions</a:t>
            </a:r>
            <a:br>
              <a:rPr lang="en-US" sz="2000" dirty="0"/>
            </a:br>
            <a:br>
              <a:rPr lang="en-US" sz="2000" dirty="0"/>
            </a:br>
            <a:r>
              <a:rPr lang="en-US" sz="2000" b="1" dirty="0"/>
              <a:t>What are the eight most foundational course skills?</a:t>
            </a:r>
            <a:br>
              <a:rPr lang="en-US" sz="2000" b="1" dirty="0"/>
            </a:br>
            <a:br>
              <a:rPr lang="en-US" sz="2000" b="1" dirty="0"/>
            </a:br>
            <a:r>
              <a:rPr lang="en-US" sz="2000" b="1" dirty="0"/>
              <a:t>Focus on a genre (poetry, short fiction, longer works).  Look at the three units in your CED and determine which skills are foundational, competent, expert.  Would a move a skill from one unit to another?  Why?  Why not?</a:t>
            </a:r>
          </a:p>
          <a:p>
            <a:endParaRPr lang="en-US" sz="2000" b="1" dirty="0"/>
          </a:p>
          <a:p>
            <a:r>
              <a:rPr lang="en-US" sz="2000" b="1" dirty="0"/>
              <a:t>Focus on the first three units of the CED and determine which skills are foundational, competent, expert.  Would you move a skill from these three units to Units 4-9?  Why or why not?  Are there skills/knowledge students need to know before they can be successful at the course skills listed in these units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D45C5B3-CF59-4515-9843-3E9056797D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6278880" y="269911"/>
            <a:ext cx="4970171" cy="279572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68A01FD-F0F0-4330-B54A-AC678BD05865}"/>
              </a:ext>
            </a:extLst>
          </p:cNvPr>
          <p:cNvSpPr txBox="1"/>
          <p:nvPr/>
        </p:nvSpPr>
        <p:spPr>
          <a:xfrm>
            <a:off x="6654265" y="3143049"/>
            <a:ext cx="49701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www.peoplematters.in/article/employee-engagement/do-you-have-collaboration-space-at-work-14062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4" tooltip="https://creativecommons.org/licenses/by-nc-sa/3.0/"/>
              </a:rPr>
              <a:t>CC BY-SA-NC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783451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8719BA8-14FD-4790-B70F-AEE7FFC826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07" y="1555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8719BA8-14FD-4790-B70F-AEE7FFC826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7" y="1555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7662C61-8A3D-4875-B95A-E355FEA979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48"/>
            <a:ext cx="150723" cy="15072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68131">
              <a:defRPr/>
            </a:pPr>
            <a:endParaRPr lang="en-US" sz="3418" dirty="0">
              <a:solidFill>
                <a:srgbClr val="FFFFFF"/>
              </a:solidFill>
              <a:latin typeface="Roboto Slab" pitchFamily="2" charset="0"/>
              <a:sym typeface="Roboto Slab" pitchFamily="2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9F3043B-9182-4BAB-B0B3-4B23A683C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sonal Progress Checks Overview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6E35336-47C1-4A50-9784-AFF4FC4FACEA}"/>
              </a:ext>
            </a:extLst>
          </p:cNvPr>
          <p:cNvSpPr txBox="1">
            <a:spLocks/>
          </p:cNvSpPr>
          <p:nvPr/>
        </p:nvSpPr>
        <p:spPr>
          <a:xfrm>
            <a:off x="380899" y="1231109"/>
            <a:ext cx="3741687" cy="895618"/>
          </a:xfrm>
          <a:prstGeom prst="rect">
            <a:avLst/>
          </a:prstGeom>
        </p:spPr>
        <p:txBody>
          <a:bodyPr lIns="0" tIns="228597" rIns="0" bIns="0" anchor="t">
            <a:spAutoFit/>
          </a:bodyPr>
          <a:lstStyle>
            <a:lvl1pPr marL="0" indent="0" algn="l" defTabSz="963046" rtl="0" eaLnBrk="1" latinLnBrk="0" hangingPunct="1">
              <a:lnSpc>
                <a:spcPct val="90000"/>
              </a:lnSpc>
              <a:spcBef>
                <a:spcPts val="1053"/>
              </a:spcBef>
              <a:buFont typeface="Arial"/>
              <a:buNone/>
              <a:defRPr sz="1685" b="1" kern="1200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 marL="722285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252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3808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21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85331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6854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48377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900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1423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2946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16">
              <a:spcBef>
                <a:spcPts val="1000"/>
              </a:spcBef>
              <a:defRPr/>
            </a:pPr>
            <a:r>
              <a:rPr lang="en-US" sz="1600" dirty="0">
                <a:solidFill>
                  <a:srgbClr val="009CDE"/>
                </a:solidFill>
                <a:latin typeface="Roboto Slab"/>
              </a:rPr>
              <a:t>Personal Progress Check information is provided at the bottom of the Course at a Glance.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193E9D30-64D6-4975-B830-EBE92ADD3455}"/>
              </a:ext>
            </a:extLst>
          </p:cNvPr>
          <p:cNvSpPr txBox="1">
            <a:spLocks/>
          </p:cNvSpPr>
          <p:nvPr/>
        </p:nvSpPr>
        <p:spPr>
          <a:xfrm>
            <a:off x="356462" y="2380109"/>
            <a:ext cx="3741127" cy="3446111"/>
          </a:xfrm>
          <a:prstGeom prst="rect">
            <a:avLst/>
          </a:prstGeom>
        </p:spPr>
        <p:txBody>
          <a:bodyPr lIns="0" tIns="217041" rIns="0" bIns="0"/>
          <a:lstStyle>
            <a:lvl1pPr marL="300952" indent="-300952" algn="l" defTabSz="963046" rtl="0" eaLnBrk="1" latinLnBrk="0" hangingPunct="1">
              <a:lnSpc>
                <a:spcPct val="90000"/>
              </a:lnSpc>
              <a:spcBef>
                <a:spcPts val="1053"/>
              </a:spcBef>
              <a:buClr>
                <a:schemeClr val="accent2"/>
              </a:buClr>
              <a:buFont typeface="Arial" charset="0"/>
              <a:buChar char="•"/>
              <a:defRPr sz="1685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722285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Clr>
                <a:schemeClr val="accent2"/>
              </a:buClr>
              <a:buFont typeface="Arial"/>
              <a:buChar char="•"/>
              <a:defRPr sz="1685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1203808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Clr>
                <a:schemeClr val="accent2"/>
              </a:buClr>
              <a:buFont typeface="Arial"/>
              <a:buChar char="•"/>
              <a:defRPr sz="1685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685331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Clr>
                <a:schemeClr val="accent2"/>
              </a:buClr>
              <a:buFont typeface="Arial"/>
              <a:buChar char="•"/>
              <a:defRPr sz="1685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2166854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Clr>
                <a:schemeClr val="accent2"/>
              </a:buClr>
              <a:buFont typeface="Arial"/>
              <a:buChar char="•"/>
              <a:defRPr sz="1685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5pPr>
            <a:lvl6pPr marL="2648377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900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1423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2946" indent="-240762" algn="l" defTabSz="963046" rtl="0" eaLnBrk="1" latinLnBrk="0" hangingPunct="1">
              <a:lnSpc>
                <a:spcPct val="90000"/>
              </a:lnSpc>
              <a:spcBef>
                <a:spcPts val="527"/>
              </a:spcBef>
              <a:buFont typeface="Arial"/>
              <a:buChar char="•"/>
              <a:defRPr sz="18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16">
              <a:spcBef>
                <a:spcPts val="1000"/>
              </a:spcBef>
              <a:buClr>
                <a:srgbClr val="71C5E8"/>
              </a:buClr>
              <a:buNone/>
              <a:defRPr/>
            </a:pPr>
            <a:r>
              <a:rPr lang="en-US" sz="1600" b="1" dirty="0">
                <a:solidFill>
                  <a:srgbClr val="1E1E1E"/>
                </a:solidFill>
              </a:rPr>
              <a:t>Specifications include:</a:t>
            </a:r>
          </a:p>
          <a:p>
            <a:pPr marL="285724" indent="-285724" defTabSz="914316">
              <a:spcBef>
                <a:spcPts val="1000"/>
              </a:spcBef>
              <a:buClr>
                <a:srgbClr val="71C5E8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E1E1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proximate number of multiple-choice questions (MCQ)</a:t>
            </a:r>
          </a:p>
          <a:p>
            <a:pPr marL="285724" indent="-285724" defTabSz="914316">
              <a:spcBef>
                <a:spcPts val="1000"/>
              </a:spcBef>
              <a:buClr>
                <a:srgbClr val="71C5E8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E1E1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umber of free-response questions (FRQ)</a:t>
            </a:r>
          </a:p>
          <a:p>
            <a:pPr marL="285724" indent="-285724" defTabSz="914316">
              <a:spcBef>
                <a:spcPts val="1000"/>
              </a:spcBef>
              <a:buClr>
                <a:srgbClr val="71C5E8"/>
              </a:buClr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1E1E1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ypes of free-response questions, including whether the FRQ represents a partial version of what students will encounter on the AP Exam</a:t>
            </a:r>
          </a:p>
          <a:p>
            <a:pPr marL="285724" indent="-285724" defTabSz="914316">
              <a:spcBef>
                <a:spcPts val="1000"/>
              </a:spcBef>
              <a:buClr>
                <a:srgbClr val="71C5E8"/>
              </a:buClr>
              <a:defRPr/>
            </a:pPr>
            <a:endParaRPr lang="en-US" sz="1600" dirty="0">
              <a:solidFill>
                <a:srgbClr val="1E1E1E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05C9519-2A31-9A47-A5E6-AD09E65197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85848" y="1376097"/>
            <a:ext cx="3027257" cy="420794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0843E57-8E81-6144-82AB-42A22BA51F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8108" y="1376097"/>
            <a:ext cx="2964698" cy="42065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D61919FC-7FE9-804D-857F-F1557ABE1A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53788" y="1376097"/>
            <a:ext cx="1910016" cy="420651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5793D738-B5DF-B743-88C3-7FA6EF067A27}"/>
              </a:ext>
            </a:extLst>
          </p:cNvPr>
          <p:cNvSpPr/>
          <p:nvPr/>
        </p:nvSpPr>
        <p:spPr>
          <a:xfrm>
            <a:off x="4519969" y="4463571"/>
            <a:ext cx="1047470" cy="995421"/>
          </a:xfrm>
          <a:prstGeom prst="rect">
            <a:avLst/>
          </a:prstGeom>
          <a:solidFill>
            <a:srgbClr val="FFFF00">
              <a:alpha val="35000"/>
            </a:srgbClr>
          </a:solidFill>
          <a:ln w="19050">
            <a:solidFill>
              <a:srgbClr val="FE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>
              <a:defRPr/>
            </a:pPr>
            <a:endParaRPr lang="en-US" sz="1899" b="1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E7BDF8-C4FA-444F-BAE3-9136CAC3AAE2}"/>
              </a:ext>
            </a:extLst>
          </p:cNvPr>
          <p:cNvSpPr/>
          <p:nvPr/>
        </p:nvSpPr>
        <p:spPr>
          <a:xfrm>
            <a:off x="5572265" y="4769988"/>
            <a:ext cx="994802" cy="633037"/>
          </a:xfrm>
          <a:prstGeom prst="rect">
            <a:avLst/>
          </a:prstGeom>
          <a:solidFill>
            <a:srgbClr val="FFFF00">
              <a:alpha val="35000"/>
            </a:srgbClr>
          </a:solidFill>
          <a:ln w="19050">
            <a:solidFill>
              <a:srgbClr val="FE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>
              <a:defRPr/>
            </a:pPr>
            <a:endParaRPr lang="en-US" sz="1899" b="1">
              <a:solidFill>
                <a:srgbClr val="FFFFFF"/>
              </a:solidFill>
              <a:latin typeface="Roboto Slab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8957D94-3C33-1342-BE43-E2686E7093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17106" y="3564795"/>
            <a:ext cx="2398699" cy="24423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F000742-45E8-1846-BD85-F9B5C72F6EF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3978" y="4270774"/>
            <a:ext cx="2731104" cy="173633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Star: 7 Points 15">
            <a:extLst>
              <a:ext uri="{FF2B5EF4-FFF2-40B4-BE49-F238E27FC236}">
                <a16:creationId xmlns:a16="http://schemas.microsoft.com/office/drawing/2014/main" id="{C068E279-1D96-3B41-8BEE-6B893450D33D}"/>
              </a:ext>
            </a:extLst>
          </p:cNvPr>
          <p:cNvSpPr/>
          <p:nvPr/>
        </p:nvSpPr>
        <p:spPr>
          <a:xfrm>
            <a:off x="10687896" y="5403025"/>
            <a:ext cx="1041799" cy="1041799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/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CED</a:t>
            </a:r>
          </a:p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pp. 20-23</a:t>
            </a:r>
          </a:p>
        </p:txBody>
      </p:sp>
    </p:spTree>
    <p:extLst>
      <p:ext uri="{BB962C8B-B14F-4D97-AF65-F5344CB8AC3E}">
        <p14:creationId xmlns:p14="http://schemas.microsoft.com/office/powerpoint/2010/main" val="171804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2" grpId="0" animBg="1"/>
      <p:bldP spid="22" grpId="1" animBg="1"/>
      <p:bldP spid="2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417FCA0-63EA-446A-BB96-3436A6927377}"/>
              </a:ext>
            </a:extLst>
          </p:cNvPr>
          <p:cNvSpPr/>
          <p:nvPr/>
        </p:nvSpPr>
        <p:spPr>
          <a:xfrm>
            <a:off x="5160933" y="1134717"/>
            <a:ext cx="6163622" cy="3848706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56CE6A9-49AD-4A2E-8783-A94E0DB61A38}"/>
              </a:ext>
            </a:extLst>
          </p:cNvPr>
          <p:cNvSpPr/>
          <p:nvPr/>
        </p:nvSpPr>
        <p:spPr>
          <a:xfrm>
            <a:off x="5159510" y="4473900"/>
            <a:ext cx="6149313" cy="4550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51E777-91CB-714B-A7C9-7F4B2A537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689" y="555848"/>
            <a:ext cx="3741127" cy="1123128"/>
          </a:xfrm>
        </p:spPr>
        <p:txBody>
          <a:bodyPr/>
          <a:lstStyle/>
          <a:p>
            <a:r>
              <a:rPr lang="en-US"/>
              <a:t>Progress Dashboard Preview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1B59693-DAAE-5845-A8A9-37B47FD943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6689" y="1714057"/>
            <a:ext cx="3741687" cy="723211"/>
          </a:xfrm>
        </p:spPr>
        <p:txBody>
          <a:bodyPr vert="horz" lIns="0" tIns="228597" rIns="0" bIns="0" rtlCol="0" anchor="t" anchorCtr="0">
            <a:spAutoFit/>
          </a:bodyPr>
          <a:lstStyle/>
          <a:p>
            <a:r>
              <a:rPr lang="en-US">
                <a:solidFill>
                  <a:schemeClr val="accent3"/>
                </a:solidFill>
                <a:latin typeface="Roboto Slab"/>
              </a:rPr>
              <a:t>View progress for every student and class across AP units and skills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3979F83-34E7-40ED-8890-3905100463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4734" y="4473900"/>
            <a:ext cx="6160778" cy="50742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7671EB7-856D-9345-B62C-28401732E3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1889" y="1125643"/>
            <a:ext cx="6163622" cy="375305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05EA857-41D0-CC4D-9F51-2A709B7B4D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7106" y="1457103"/>
            <a:ext cx="6088308" cy="352632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322BDF4-0D9E-4703-9A5F-B54FE195008D}"/>
              </a:ext>
            </a:extLst>
          </p:cNvPr>
          <p:cNvSpPr/>
          <p:nvPr/>
        </p:nvSpPr>
        <p:spPr>
          <a:xfrm>
            <a:off x="5371775" y="1302296"/>
            <a:ext cx="479300" cy="128465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 fontScale="25000" lnSpcReduction="20000"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1EC6A8E-05B2-45EE-8D44-80F5C194E2F4}"/>
              </a:ext>
            </a:extLst>
          </p:cNvPr>
          <p:cNvSpPr/>
          <p:nvPr/>
        </p:nvSpPr>
        <p:spPr>
          <a:xfrm>
            <a:off x="5160932" y="1125643"/>
            <a:ext cx="6149313" cy="4550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88B4CDD-B695-014E-BBCD-706FF5B8A4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8721" y="1181256"/>
            <a:ext cx="6088307" cy="3381170"/>
          </a:xfrm>
          <a:prstGeom prst="rect">
            <a:avLst/>
          </a:prstGeom>
        </p:spPr>
      </p:pic>
      <p:pic>
        <p:nvPicPr>
          <p:cNvPr id="15" name="Picture 14" descr="A screen shot of a computer&#10;&#10;Description automatically generated">
            <a:extLst>
              <a:ext uri="{FF2B5EF4-FFF2-40B4-BE49-F238E27FC236}">
                <a16:creationId xmlns:a16="http://schemas.microsoft.com/office/drawing/2014/main" id="{A2606794-100D-DD4C-B6B3-C1D05E3E77A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1199"/>
          <a:stretch/>
        </p:blipFill>
        <p:spPr>
          <a:xfrm>
            <a:off x="4744740" y="4986599"/>
            <a:ext cx="6971415" cy="416503"/>
          </a:xfrm>
          <a:prstGeom prst="rect">
            <a:avLst/>
          </a:prstGeom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4776A6C-868F-4FBE-89E7-FE9721C72F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4241" y="1134717"/>
            <a:ext cx="6098737" cy="3734904"/>
          </a:xfrm>
          <a:prstGeom prst="rect">
            <a:avLst/>
          </a:prstGeom>
        </p:spPr>
      </p:pic>
      <p:pic>
        <p:nvPicPr>
          <p:cNvPr id="18" name="Picture 17" descr="A screen shot of a computer&#10;&#10;Description automatically generated">
            <a:extLst>
              <a:ext uri="{FF2B5EF4-FFF2-40B4-BE49-F238E27FC236}">
                <a16:creationId xmlns:a16="http://schemas.microsoft.com/office/drawing/2014/main" id="{06CB116D-D82D-5444-A459-D2AC464DF48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9097"/>
          <a:stretch/>
        </p:blipFill>
        <p:spPr>
          <a:xfrm>
            <a:off x="4744740" y="706137"/>
            <a:ext cx="6979036" cy="4301722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5239307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173631DD-D3B9-4FB6-B383-FF1433BAD45B}"/>
              </a:ext>
            </a:extLst>
          </p:cNvPr>
          <p:cNvSpPr txBox="1"/>
          <p:nvPr/>
        </p:nvSpPr>
        <p:spPr>
          <a:xfrm>
            <a:off x="515154" y="437882"/>
            <a:ext cx="11372045" cy="5755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accent1">
                    <a:lumMod val="75000"/>
                  </a:schemeClr>
                </a:solidFill>
              </a:rPr>
              <a:t>Equity and access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b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</a:rPr>
              <a:t>Planning for remediation and enrichment after assessment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								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</a:rPr>
              <a:t>Questions to consider</a:t>
            </a:r>
            <a:endParaRPr lang="en-US" sz="2000" b="1" dirty="0"/>
          </a:p>
          <a:p>
            <a:r>
              <a:rPr lang="en-US" sz="2000" b="1" dirty="0"/>
              <a:t>					What is mastery according to PPC results?</a:t>
            </a:r>
          </a:p>
          <a:p>
            <a:r>
              <a:rPr lang="en-US" sz="2000" b="1" dirty="0"/>
              <a:t>				  	Individual?	</a:t>
            </a:r>
          </a:p>
          <a:p>
            <a:r>
              <a:rPr lang="en-US" sz="2000" b="1" dirty="0"/>
              <a:t>				  	class?</a:t>
            </a:r>
            <a:br>
              <a:rPr lang="en-US" sz="2000" b="1" dirty="0"/>
            </a:br>
            <a:r>
              <a:rPr lang="en-US" sz="2000" b="1" dirty="0"/>
              <a:t>					What will you do if your class does not show 							mastery on most of the unit’s skills?</a:t>
            </a:r>
            <a:br>
              <a:rPr lang="en-US" sz="2000" b="1" dirty="0"/>
            </a:br>
            <a:r>
              <a:rPr lang="en-US" sz="2000" b="1" dirty="0"/>
              <a:t>					Will you delay starting the next unit?</a:t>
            </a:r>
            <a:br>
              <a:rPr lang="en-US" sz="2000" b="1" dirty="0"/>
            </a:br>
            <a:r>
              <a:rPr lang="en-US" sz="2000" b="1" dirty="0"/>
              <a:t>				 	Do you have to cover all nine units?</a:t>
            </a:r>
            <a:br>
              <a:rPr lang="en-US" sz="2000" b="1" dirty="0"/>
            </a:br>
            <a:r>
              <a:rPr lang="en-US" sz="2000" b="1" dirty="0"/>
              <a:t>					How do you remediate students who do not show mastery 						on most of the unit’s skills?</a:t>
            </a:r>
            <a:br>
              <a:rPr lang="en-US" sz="2000" b="1" dirty="0"/>
            </a:br>
            <a:r>
              <a:rPr lang="en-US" sz="2000" b="1" dirty="0"/>
              <a:t>					What will you do when a class or individual does  not show 						mastery 	of a particular skill?</a:t>
            </a:r>
            <a:br>
              <a:rPr lang="en-US" sz="2000" b="1" dirty="0"/>
            </a:br>
            <a:r>
              <a:rPr lang="en-US" sz="2000" b="1" dirty="0"/>
              <a:t>					What will you do if a class or individual masters 							course skill(s) quickl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A3E187-05D6-40D3-8EF9-AD22AD9C7D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126374" y="2558133"/>
            <a:ext cx="4698799" cy="2631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935CDE4-8814-4EEA-ACE0-CD81FB2D3385}"/>
              </a:ext>
            </a:extLst>
          </p:cNvPr>
          <p:cNvSpPr txBox="1"/>
          <p:nvPr/>
        </p:nvSpPr>
        <p:spPr>
          <a:xfrm>
            <a:off x="126374" y="5191648"/>
            <a:ext cx="37912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uxmastery.com/ux-training-workshops-june-july-2014/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4" tooltip="https://creativecommons.org/licenses/by-nd/3.0/"/>
              </a:rPr>
              <a:t>CC BY-ND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2866359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2B058E-EA3F-405A-826E-C6CB270D229E}"/>
              </a:ext>
            </a:extLst>
          </p:cNvPr>
          <p:cNvSpPr txBox="1"/>
          <p:nvPr/>
        </p:nvSpPr>
        <p:spPr>
          <a:xfrm>
            <a:off x="305276" y="582252"/>
            <a:ext cx="11006667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How former students have completed this statement </a:t>
            </a:r>
            <a:br>
              <a:rPr lang="en-US" dirty="0"/>
            </a:br>
            <a:br>
              <a:rPr lang="en-US" dirty="0"/>
            </a:br>
            <a:r>
              <a:rPr lang="en-US" sz="2000" dirty="0"/>
              <a:t>Understanding expression and communication in all of its forms.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Learning from the stories and experiences of others</a:t>
            </a:r>
            <a:br>
              <a:rPr lang="en-US" sz="2000" dirty="0"/>
            </a:br>
            <a:r>
              <a:rPr lang="en-US" sz="2000" dirty="0"/>
              <a:t>Learning to explore art through a different person’s thoughts and expressions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Learning the art of communication and imagination</a:t>
            </a:r>
            <a:br>
              <a:rPr lang="en-US" sz="2000" dirty="0"/>
            </a:br>
            <a:r>
              <a:rPr lang="en-US" sz="2000" dirty="0"/>
              <a:t>Understanding our world through stories and language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Immersing yourself in different perspectives and emerging a better person from the experience.</a:t>
            </a:r>
            <a:br>
              <a:rPr lang="en-US" sz="2000" dirty="0">
                <a:solidFill>
                  <a:schemeClr val="accent1"/>
                </a:solidFill>
              </a:rPr>
            </a:br>
            <a:r>
              <a:rPr lang="en-US" sz="2000" dirty="0"/>
              <a:t>Learning that despite our differences, we all have way more in common than we think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Seeing an extraordinary world through ordinary words</a:t>
            </a:r>
            <a:br>
              <a:rPr lang="en-US" sz="2000" dirty="0"/>
            </a:br>
            <a:r>
              <a:rPr lang="en-US" sz="2000" dirty="0"/>
              <a:t>Seeing a culture through its own eyes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Learning that the words on the page are unique, but the stories are universal</a:t>
            </a:r>
            <a:br>
              <a:rPr lang="en-US" sz="2000" dirty="0"/>
            </a:br>
            <a:r>
              <a:rPr lang="en-US" sz="2000" dirty="0"/>
              <a:t>Deepening our understanding of the common human experience, in hopes that a broadened perspective would  help us to appreciate the world and contribute to its flourishing</a:t>
            </a:r>
            <a:br>
              <a:rPr lang="en-US" sz="2000" dirty="0"/>
            </a:br>
            <a:r>
              <a:rPr lang="en-US" sz="2000" dirty="0">
                <a:solidFill>
                  <a:schemeClr val="accent1"/>
                </a:solidFill>
              </a:rPr>
              <a:t>Becoming a better person by understanding the perspectives of others</a:t>
            </a:r>
            <a:br>
              <a:rPr lang="en-US" sz="2000" dirty="0"/>
            </a:br>
            <a:r>
              <a:rPr lang="en-US" sz="2000" dirty="0"/>
              <a:t>Thinking critically and always being curious about the world around you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ks to Andrew Snipe, Pompano Beach High School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3441D1-B34A-4145-A41E-E835A46CD8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rcRect/>
          <a:stretch/>
        </p:blipFill>
        <p:spPr>
          <a:xfrm>
            <a:off x="7673021" y="337331"/>
            <a:ext cx="3228235" cy="144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1197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52B058E-EA3F-405A-826E-C6CB270D229E}"/>
              </a:ext>
            </a:extLst>
          </p:cNvPr>
          <p:cNvSpPr txBox="1"/>
          <p:nvPr/>
        </p:nvSpPr>
        <p:spPr>
          <a:xfrm>
            <a:off x="592666" y="402104"/>
            <a:ext cx="110066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re are you and your students on the road to a good score on the AP English Literature exam?</a:t>
            </a:r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C1E92C79-13B9-4046-8692-6F4EE8FECD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937006"/>
              </p:ext>
            </p:extLst>
          </p:nvPr>
        </p:nvGraphicFramePr>
        <p:xfrm>
          <a:off x="1810669" y="1107369"/>
          <a:ext cx="8596523" cy="50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659071787"/>
                    </a:ext>
                  </a:extLst>
                </a:gridCol>
                <a:gridCol w="4532523">
                  <a:extLst>
                    <a:ext uri="{9D8B030D-6E8A-4147-A177-3AD203B41FA5}">
                      <a16:colId xmlns:a16="http://schemas.microsoft.com/office/drawing/2014/main" val="35110666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3200" dirty="0"/>
                        <a:t>1:  A Dirt Road</a:t>
                      </a:r>
                      <a:br>
                        <a:rPr lang="en-US" sz="3200" dirty="0"/>
                      </a:br>
                      <a:r>
                        <a:rPr lang="en-US" sz="3200" dirty="0"/>
                        <a:t>There’s so much dust, I can’t even see the road!!   Help!!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200" b="1" dirty="0"/>
                        <a:t>2:  A Paved </a:t>
                      </a:r>
                      <a:r>
                        <a:rPr lang="en-US" sz="3200" dirty="0"/>
                        <a:t>Street</a:t>
                      </a:r>
                      <a:br>
                        <a:rPr lang="en-US" sz="3200" dirty="0"/>
                      </a:br>
                      <a:r>
                        <a:rPr lang="en-US" sz="3200" dirty="0"/>
                        <a:t>It’s fairly smooth , but there are still a lot of potholes that need repair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2903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1"/>
                          </a:solidFill>
                        </a:rPr>
                        <a:t>3:  A State Highway</a:t>
                      </a:r>
                      <a:br>
                        <a:rPr lang="en-US" sz="3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3200" b="1" dirty="0">
                          <a:solidFill>
                            <a:schemeClr val="bg1"/>
                          </a:solidFill>
                        </a:rPr>
                        <a:t>I feel confident but have quite a few traffic jams that slow me down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3200" b="1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4:  An Interstate</a:t>
                      </a:r>
                      <a:br>
                        <a:rPr lang="en-US" sz="3200" b="1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</a:br>
                      <a:r>
                        <a:rPr lang="en-US" sz="3200" b="1" dirty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I’m traveling along at a good pace and could probably give directions to someone else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10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302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108A45B-858D-4D23-AAC7-410056FF0E4E}"/>
              </a:ext>
            </a:extLst>
          </p:cNvPr>
          <p:cNvSpPr txBox="1"/>
          <p:nvPr/>
        </p:nvSpPr>
        <p:spPr>
          <a:xfrm>
            <a:off x="502276" y="566670"/>
            <a:ext cx="226668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In your breakout rooms, discuss:</a:t>
            </a:r>
            <a:br>
              <a:rPr lang="en-US" sz="2000" b="1" dirty="0">
                <a:solidFill>
                  <a:srgbClr val="C00000"/>
                </a:solidFill>
              </a:rPr>
            </a:br>
            <a:r>
              <a:rPr lang="en-US" sz="2000" b="1" dirty="0">
                <a:solidFill>
                  <a:srgbClr val="C00000"/>
                </a:solidFill>
              </a:rPr>
              <a:t>What do you think your students need to do to get to the next level?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CA38B1EE-5F31-4735-8691-9A26628FA2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247389"/>
              </p:ext>
            </p:extLst>
          </p:nvPr>
        </p:nvGraphicFramePr>
        <p:xfrm>
          <a:off x="3228699" y="1011241"/>
          <a:ext cx="8128000" cy="2966088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848254977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09922882"/>
                    </a:ext>
                  </a:extLst>
                </a:gridCol>
              </a:tblGrid>
              <a:tr h="651589">
                <a:tc>
                  <a:txBody>
                    <a:bodyPr/>
                    <a:lstStyle/>
                    <a:p>
                      <a:r>
                        <a:rPr lang="en-US" sz="2000" dirty="0"/>
                        <a:t>Objec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Strategies to help students achieve that objec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8569469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9265643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7175111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5580685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1571086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2935079"/>
                  </a:ext>
                </a:extLst>
              </a:tr>
              <a:tr h="37750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550573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B22DB7A-7FB8-47E7-9F5C-1F9DA8616814}"/>
              </a:ext>
            </a:extLst>
          </p:cNvPr>
          <p:cNvSpPr txBox="1"/>
          <p:nvPr/>
        </p:nvSpPr>
        <p:spPr>
          <a:xfrm>
            <a:off x="3155324" y="475648"/>
            <a:ext cx="68258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ake A T-char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B84866-2B61-45E8-9443-371A3C50A9D3}"/>
              </a:ext>
            </a:extLst>
          </p:cNvPr>
          <p:cNvSpPr txBox="1"/>
          <p:nvPr/>
        </p:nvSpPr>
        <p:spPr>
          <a:xfrm>
            <a:off x="5492446" y="4629977"/>
            <a:ext cx="55999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Brainstorm.  Then prioritize!</a:t>
            </a:r>
          </a:p>
          <a:p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What needs to come first, second, </a:t>
            </a:r>
            <a:b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800" b="1" dirty="0">
                <a:solidFill>
                  <a:schemeClr val="accent5">
                    <a:lumMod val="75000"/>
                  </a:schemeClr>
                </a:solidFill>
              </a:rPr>
              <a:t>etc.?  This will probably be different for each of you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832BBD-0FCA-4C68-A271-5DEF985AAD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99573" y="4482325"/>
            <a:ext cx="4549707" cy="224676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17CC1C3-7BB5-4718-95C5-7E2E9D7A50F8}"/>
              </a:ext>
            </a:extLst>
          </p:cNvPr>
          <p:cNvSpPr txBox="1"/>
          <p:nvPr/>
        </p:nvSpPr>
        <p:spPr>
          <a:xfrm>
            <a:off x="166687" y="6060498"/>
            <a:ext cx="454970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www.jisc.ac.uk/blog/member-stories-using-digital-archives-to-inspire-students-19-nov-2018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4" tooltip="https://creativecommons.org/licenses/by-nc-nd/3.0/"/>
              </a:rPr>
              <a:t>CC BY-NC-ND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638232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3DB7C-E27E-47C5-9A29-FCDF2E3A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800" dirty="0"/>
              <a:t>Course Skills and </a:t>
            </a:r>
            <a:br>
              <a:rPr lang="en-US" sz="4800" dirty="0"/>
            </a:br>
            <a:r>
              <a:rPr lang="en-US" sz="4800" dirty="0"/>
              <a:t>Essential Knowled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76A376-72A7-498E-83B5-B409712125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562" y="1173873"/>
            <a:ext cx="3995738" cy="5319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695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75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B1C08C-9AFB-4A40-B1A1-34EB3F5557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2" y="163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B1C08C-9AFB-4A40-B1A1-34EB3F555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72" y="163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2A9681-E10E-4389-B939-579588AB63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" y="47"/>
            <a:ext cx="158748" cy="158748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6813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dirty="0">
              <a:solidFill>
                <a:srgbClr val="DCDCDC"/>
              </a:solidFill>
              <a:latin typeface="Roboto Slab" pitchFamily="2" charset="0"/>
              <a:ea typeface="Roboto Slab" pitchFamily="2" charset="0"/>
              <a:sym typeface="Roboto Slab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E59B73-C6B5-4B70-AFA7-1F3F34B44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924" y="449015"/>
            <a:ext cx="3741179" cy="630879"/>
          </a:xfrm>
        </p:spPr>
        <p:txBody>
          <a:bodyPr vert="horz" wrap="square" lIns="0" tIns="137159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ourse Skills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CFF493-068F-4BF4-AE3E-F292EF5F8BA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73595" y="1375003"/>
            <a:ext cx="3491734" cy="4107995"/>
          </a:xfrm>
        </p:spPr>
        <p:txBody>
          <a:bodyPr/>
          <a:lstStyle/>
          <a:p>
            <a:pPr>
              <a:buClrTx/>
            </a:pPr>
            <a:r>
              <a:rPr lang="en-US" sz="1800" dirty="0"/>
              <a:t>Course skills describe </a:t>
            </a:r>
            <a:r>
              <a:rPr lang="en-US" sz="1800" b="1" dirty="0">
                <a:solidFill>
                  <a:schemeClr val="accent3"/>
                </a:solidFill>
              </a:rPr>
              <a:t>what students should be able to do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/>
              <a:t>while studying literary works throughout the course.</a:t>
            </a:r>
          </a:p>
          <a:p>
            <a:pPr>
              <a:buClrTx/>
            </a:pPr>
            <a:r>
              <a:rPr lang="en-US" sz="1800" dirty="0"/>
              <a:t>Course skills also </a:t>
            </a:r>
            <a:r>
              <a:rPr lang="en-US" sz="1800" b="1" dirty="0">
                <a:solidFill>
                  <a:schemeClr val="accent3"/>
                </a:solidFill>
              </a:rPr>
              <a:t>form the basis of tasks</a:t>
            </a:r>
            <a:r>
              <a:rPr lang="en-US" sz="1800" b="1" dirty="0"/>
              <a:t> </a:t>
            </a:r>
            <a:r>
              <a:rPr lang="en-US" sz="1800" dirty="0"/>
              <a:t>students are asked to perform on the AP Exam.</a:t>
            </a:r>
          </a:p>
          <a:p>
            <a:pPr>
              <a:buClrTx/>
            </a:pPr>
            <a:r>
              <a:rPr lang="en-US" sz="1800" dirty="0"/>
              <a:t>Students will benefit from </a:t>
            </a:r>
            <a:r>
              <a:rPr lang="en-US" sz="1800" b="1" dirty="0">
                <a:solidFill>
                  <a:schemeClr val="accent3"/>
                </a:solidFill>
              </a:rPr>
              <a:t>multiple opportunities</a:t>
            </a:r>
            <a:r>
              <a:rPr lang="en-US" sz="1800" dirty="0">
                <a:solidFill>
                  <a:schemeClr val="accent3"/>
                </a:solidFill>
              </a:rPr>
              <a:t> </a:t>
            </a:r>
            <a:r>
              <a:rPr lang="en-US" sz="1800" dirty="0"/>
              <a:t>to develop course skills in a scaffolded manner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9A2344-BD14-4837-BAF6-0917CD9D6A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30417" y="593898"/>
            <a:ext cx="7348478" cy="55490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E15E570-9F45-493F-8820-F7EAE67E1A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98206" y="48"/>
            <a:ext cx="1632434" cy="68579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E8CBF1-72DA-4B30-B607-25D574913542}"/>
              </a:ext>
            </a:extLst>
          </p:cNvPr>
          <p:cNvSpPr/>
          <p:nvPr/>
        </p:nvSpPr>
        <p:spPr>
          <a:xfrm>
            <a:off x="3998207" y="3062148"/>
            <a:ext cx="1632434" cy="937663"/>
          </a:xfrm>
          <a:prstGeom prst="rect">
            <a:avLst/>
          </a:prstGeom>
          <a:solidFill>
            <a:srgbClr val="FFFF00">
              <a:alpha val="35000"/>
            </a:srgbClr>
          </a:solidFill>
          <a:ln w="19050">
            <a:solidFill>
              <a:srgbClr val="FE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10" name="Star: 7 Points 38">
            <a:extLst>
              <a:ext uri="{FF2B5EF4-FFF2-40B4-BE49-F238E27FC236}">
                <a16:creationId xmlns:a16="http://schemas.microsoft.com/office/drawing/2014/main" id="{9A6607ED-968A-624D-97DF-428FA0305DF4}"/>
              </a:ext>
            </a:extLst>
          </p:cNvPr>
          <p:cNvSpPr/>
          <p:nvPr/>
        </p:nvSpPr>
        <p:spPr>
          <a:xfrm>
            <a:off x="10594775" y="5354820"/>
            <a:ext cx="1041799" cy="1041799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CED</a:t>
            </a:r>
          </a:p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p. 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801064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3" grpId="0" animBg="1"/>
      <p:bldP spid="13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60">
          <a:fgClr>
            <a:schemeClr val="accent1">
              <a:lumMod val="40000"/>
              <a:lumOff val="60000"/>
            </a:schemeClr>
          </a:fgClr>
          <a:bgClr>
            <a:schemeClr val="accent5">
              <a:lumMod val="60000"/>
              <a:lumOff val="40000"/>
            </a:schemeClr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0251C1F6-7E76-4740-8368-6B3C77363C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461" y="1114537"/>
            <a:ext cx="6654473" cy="502500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2348C9-6341-4A0A-AABC-631968A3D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t Overview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789E9B-9068-4ED8-AB3C-7CF8CDBE45A8}"/>
              </a:ext>
            </a:extLst>
          </p:cNvPr>
          <p:cNvSpPr/>
          <p:nvPr/>
        </p:nvSpPr>
        <p:spPr>
          <a:xfrm>
            <a:off x="423747" y="3837675"/>
            <a:ext cx="1007585" cy="575548"/>
          </a:xfrm>
          <a:prstGeom prst="rect">
            <a:avLst/>
          </a:prstGeom>
          <a:solidFill>
            <a:srgbClr val="FFFF00">
              <a:alpha val="35000"/>
            </a:srgbClr>
          </a:solidFill>
          <a:ln w="19050">
            <a:solidFill>
              <a:srgbClr val="FE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800CF720-A21D-49FA-B670-CCEB95A6677D}"/>
              </a:ext>
            </a:extLst>
          </p:cNvPr>
          <p:cNvSpPr txBox="1">
            <a:spLocks/>
          </p:cNvSpPr>
          <p:nvPr/>
        </p:nvSpPr>
        <p:spPr>
          <a:xfrm>
            <a:off x="354130" y="1445876"/>
            <a:ext cx="6340159" cy="3271912"/>
          </a:xfrm>
          <a:prstGeom prst="rect">
            <a:avLst/>
          </a:prstGeom>
        </p:spPr>
        <p:txBody>
          <a:bodyPr/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18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6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6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727" indent="-257727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 </a:t>
            </a:r>
            <a:r>
              <a:rPr lang="en-US" altLang="zh-CN" sz="1614" b="1" dirty="0">
                <a:solidFill>
                  <a:srgbClr val="009CDE"/>
                </a:solidFill>
                <a:latin typeface="Roboto"/>
              </a:rPr>
              <a:t>Unit Overview </a:t>
            </a: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shows the course skills, enduring understandings, and associated essential knowledge statements for the unit. </a:t>
            </a:r>
          </a:p>
          <a:p>
            <a:pPr marL="257727" indent="-257727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eachers are free to teach the skills within the unit </a:t>
            </a:r>
            <a:r>
              <a:rPr lang="en-US" altLang="zh-CN" sz="1614" b="1" dirty="0">
                <a:solidFill>
                  <a:srgbClr val="009CDE"/>
                </a:solidFill>
                <a:latin typeface="Roboto"/>
              </a:rPr>
              <a:t>in any order </a:t>
            </a: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y choose; that is, they do not have to be taught in the order in which they appear.</a:t>
            </a:r>
          </a:p>
          <a:p>
            <a:pPr marL="257727" indent="-257727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 </a:t>
            </a:r>
            <a:r>
              <a:rPr lang="en-US" altLang="zh-CN" sz="1614" b="1" dirty="0">
                <a:solidFill>
                  <a:srgbClr val="009CDE"/>
                </a:solidFill>
                <a:latin typeface="Roboto"/>
              </a:rPr>
              <a:t>skills </a:t>
            </a: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define what students should be able to do with the content knowledge.</a:t>
            </a:r>
          </a:p>
          <a:p>
            <a:pPr marL="545596" lvl="1" indent="-113038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 skills are the targets of assessment for the AP Exam.</a:t>
            </a:r>
          </a:p>
          <a:p>
            <a:pPr marL="545596" lvl="1" indent="-113038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 individual skill is part of a larger skill category that spirals throughout the course.</a:t>
            </a:r>
          </a:p>
          <a:p>
            <a:pPr marL="545596" lvl="1" indent="-113038" defTabSz="931433">
              <a:buClr>
                <a:srgbClr val="1E1E1E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altLang="zh-CN" sz="1614" dirty="0">
                <a:solidFill>
                  <a:srgbClr val="1E1E1E"/>
                </a:solidFill>
                <a:latin typeface="Roboto"/>
              </a:rPr>
              <a:t>The questions on the Personal Progress Checks are based on these skills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C80233C-93B4-47AC-ABC3-A57C198447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7005" y="885100"/>
            <a:ext cx="1902704" cy="453624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1FF80DC-769D-48A5-978C-29EA79DD25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7080" y="559105"/>
            <a:ext cx="4325534" cy="560302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Arrow: Circular 15">
            <a:extLst>
              <a:ext uri="{FF2B5EF4-FFF2-40B4-BE49-F238E27FC236}">
                <a16:creationId xmlns:a16="http://schemas.microsoft.com/office/drawing/2014/main" id="{F28F8059-D57F-4DC9-9F88-9E6E5C51BA97}"/>
              </a:ext>
            </a:extLst>
          </p:cNvPr>
          <p:cNvSpPr/>
          <p:nvPr/>
        </p:nvSpPr>
        <p:spPr>
          <a:xfrm>
            <a:off x="6822343" y="538434"/>
            <a:ext cx="768724" cy="844744"/>
          </a:xfrm>
          <a:prstGeom prst="circularArrow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D063890-013B-4EE9-B3FB-291C0F3BBF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3846" y="1943874"/>
            <a:ext cx="2793530" cy="9688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1DDFCE-A0CA-45F7-8B59-6C832B2984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94119" y="1570583"/>
            <a:ext cx="7248495" cy="337757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2F241F7-0B44-4783-9AAF-A4A12337F10B}"/>
              </a:ext>
            </a:extLst>
          </p:cNvPr>
          <p:cNvSpPr/>
          <p:nvPr/>
        </p:nvSpPr>
        <p:spPr>
          <a:xfrm>
            <a:off x="6096000" y="2197106"/>
            <a:ext cx="2040189" cy="868166"/>
          </a:xfrm>
          <a:prstGeom prst="rect">
            <a:avLst/>
          </a:prstGeom>
          <a:solidFill>
            <a:srgbClr val="FFFF00">
              <a:alpha val="35000"/>
            </a:srgbClr>
          </a:solidFill>
          <a:ln w="19050">
            <a:solidFill>
              <a:srgbClr val="FED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131"/>
            <a:endParaRPr lang="en-US" sz="1899" b="1" dirty="0">
              <a:solidFill>
                <a:srgbClr val="FFFFFF"/>
              </a:solidFill>
              <a:latin typeface="Roboto Slab"/>
            </a:endParaRPr>
          </a:p>
        </p:txBody>
      </p:sp>
      <p:sp>
        <p:nvSpPr>
          <p:cNvPr id="15" name="Star: 7 Points 38">
            <a:extLst>
              <a:ext uri="{FF2B5EF4-FFF2-40B4-BE49-F238E27FC236}">
                <a16:creationId xmlns:a16="http://schemas.microsoft.com/office/drawing/2014/main" id="{6FB76ABE-306C-784D-BF39-D69F2EAD9736}"/>
              </a:ext>
            </a:extLst>
          </p:cNvPr>
          <p:cNvSpPr/>
          <p:nvPr/>
        </p:nvSpPr>
        <p:spPr>
          <a:xfrm>
            <a:off x="10594775" y="5354820"/>
            <a:ext cx="1041799" cy="1041799"/>
          </a:xfrm>
          <a:prstGeom prst="ellipse">
            <a:avLst/>
          </a:prstGeom>
          <a:solidFill>
            <a:schemeClr val="bg2"/>
          </a:solidFill>
          <a:ln w="190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CED</a:t>
            </a:r>
          </a:p>
          <a:p>
            <a:pPr algn="ctr" defTabSz="868052">
              <a:defRPr/>
            </a:pPr>
            <a:r>
              <a:rPr lang="en-US" sz="1139" b="1" dirty="0">
                <a:solidFill>
                  <a:srgbClr val="FFFFFF"/>
                </a:solidFill>
                <a:latin typeface="Roboto Slab"/>
              </a:rPr>
              <a:t>p. 34</a:t>
            </a:r>
          </a:p>
        </p:txBody>
      </p:sp>
    </p:spTree>
    <p:extLst>
      <p:ext uri="{BB962C8B-B14F-4D97-AF65-F5344CB8AC3E}">
        <p14:creationId xmlns:p14="http://schemas.microsoft.com/office/powerpoint/2010/main" val="3903553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/>
      <p:bldP spid="16" grpId="0" animBg="1"/>
      <p:bldP spid="16" grpId="1" animBg="1"/>
      <p:bldP spid="9" grpId="0" animBg="1"/>
      <p:bldP spid="9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E82BB0-A145-4CEE-9C35-2544BFCB3B2F}"/>
              </a:ext>
            </a:extLst>
          </p:cNvPr>
          <p:cNvSpPr txBox="1"/>
          <p:nvPr/>
        </p:nvSpPr>
        <p:spPr>
          <a:xfrm>
            <a:off x="216325" y="144485"/>
            <a:ext cx="9749307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What skills and knowledge are …..?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800" b="1" dirty="0"/>
              <a:t>Foundational</a:t>
            </a:r>
            <a:r>
              <a:rPr lang="en-US" sz="2800" dirty="0"/>
              <a:t>:  necessary for more complex</a:t>
            </a:r>
            <a:br>
              <a:rPr lang="en-US" sz="2800" dirty="0"/>
            </a:br>
            <a:r>
              <a:rPr lang="en-US" sz="2800" dirty="0"/>
              <a:t>skills and knowledge to build upon</a:t>
            </a:r>
            <a:br>
              <a:rPr lang="en-US" sz="2800" dirty="0"/>
            </a:br>
            <a:r>
              <a:rPr lang="en-US" sz="2800" b="1" dirty="0"/>
              <a:t>Competent</a:t>
            </a:r>
            <a:r>
              <a:rPr lang="en-US" sz="2800" dirty="0"/>
              <a:t>:  adequate enough to complete a</a:t>
            </a:r>
            <a:br>
              <a:rPr lang="en-US" sz="2800" dirty="0"/>
            </a:br>
            <a:r>
              <a:rPr lang="en-US" sz="2800" dirty="0"/>
              <a:t>task independently according to standard,</a:t>
            </a:r>
            <a:br>
              <a:rPr lang="en-US" sz="2800" dirty="0"/>
            </a:br>
            <a:r>
              <a:rPr lang="en-US" sz="2800" dirty="0"/>
              <a:t>“passing”</a:t>
            </a:r>
            <a:br>
              <a:rPr lang="en-US" sz="2800" dirty="0"/>
            </a:br>
            <a:r>
              <a:rPr lang="en-US" sz="2800" b="1" dirty="0"/>
              <a:t>Expert</a:t>
            </a:r>
            <a:r>
              <a:rPr lang="en-US" sz="2800" dirty="0"/>
              <a:t>:  intuited strategically to choose tasks</a:t>
            </a:r>
            <a:br>
              <a:rPr lang="en-US" sz="2800" dirty="0"/>
            </a:br>
            <a:r>
              <a:rPr lang="en-US" sz="2800" dirty="0"/>
              <a:t>depending on situation that allow one to </a:t>
            </a:r>
            <a:br>
              <a:rPr lang="en-US" sz="2800" dirty="0"/>
            </a:br>
            <a:r>
              <a:rPr lang="en-US" sz="2800" dirty="0"/>
              <a:t>beyond the standards and to create something</a:t>
            </a:r>
            <a:br>
              <a:rPr lang="en-US" sz="2800" dirty="0"/>
            </a:br>
            <a:r>
              <a:rPr lang="en-US" sz="2800" dirty="0"/>
              <a:t>n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7AD2DD-BA04-4ADB-B0C6-9A534E4FC6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870132" y="573521"/>
            <a:ext cx="4068748" cy="512292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71CAC3E-D707-4ADC-B56C-C5ECF7ED48DA}"/>
              </a:ext>
            </a:extLst>
          </p:cNvPr>
          <p:cNvSpPr txBox="1"/>
          <p:nvPr/>
        </p:nvSpPr>
        <p:spPr>
          <a:xfrm>
            <a:off x="7896426" y="5894648"/>
            <a:ext cx="40687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hlinkClick r:id="rId3" tooltip="https://en.wikiversity.org/wiki/Student_Success/Study_Skills"/>
              </a:rPr>
              <a:t>This Photo</a:t>
            </a:r>
            <a:r>
              <a:rPr lang="en-US" sz="900"/>
              <a:t> by Unknown Author is licensed under </a:t>
            </a:r>
            <a:r>
              <a:rPr lang="en-US" sz="900">
                <a:hlinkClick r:id="rId4" tooltip="https://creativecommons.org/licenses/by-sa/3.0/"/>
              </a:rPr>
              <a:t>CC BY-SA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849524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D7A52C9-CCA1-4B51-A898-A563D36CADC5}"/>
              </a:ext>
            </a:extLst>
          </p:cNvPr>
          <p:cNvSpPr txBox="1"/>
          <p:nvPr/>
        </p:nvSpPr>
        <p:spPr>
          <a:xfrm>
            <a:off x="557212" y="628650"/>
            <a:ext cx="6040039" cy="59275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1" i="0" u="none" strike="noStrike" baseline="0" dirty="0">
                <a:latin typeface="Arial" panose="020B0604020202020204" pitchFamily="34" charset="0"/>
              </a:rPr>
              <a:t>Novice-to-Expert summary</a:t>
            </a:r>
          </a:p>
          <a:p>
            <a:pPr algn="l"/>
            <a:r>
              <a:rPr lang="en-US" sz="1800" b="1" i="1" u="none" strike="noStrike" baseline="0" dirty="0">
                <a:latin typeface="Arial" panose="020B0604020202020204" pitchFamily="34" charset="0"/>
              </a:rPr>
              <a:t>Novice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Has an incomplete understanding, approaches tasks mechanistically and needs supervision to complete them.</a:t>
            </a:r>
          </a:p>
          <a:p>
            <a:pPr algn="l"/>
            <a:r>
              <a:rPr lang="en-US" sz="1800" b="1" i="1" u="none" strike="noStrike" baseline="0" dirty="0">
                <a:latin typeface="Arial" panose="020B0604020202020204" pitchFamily="34" charset="0"/>
              </a:rPr>
              <a:t>Advanced Beginner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Has a working understanding, tends to see actions as a series of steps, can complete simpler tasks without supervision.</a:t>
            </a:r>
          </a:p>
          <a:p>
            <a:pPr algn="l"/>
            <a:r>
              <a:rPr lang="en-US" sz="1800" b="1" i="1" u="none" strike="noStrike" baseline="0" dirty="0">
                <a:latin typeface="Arial" panose="020B0604020202020204" pitchFamily="34" charset="0"/>
              </a:rPr>
              <a:t>Competent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Has a good working and background understanding, sees actions at least partly in context, able to complete work independently to a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standard that is acceptable though it may lack refinement.</a:t>
            </a:r>
          </a:p>
          <a:p>
            <a:pPr algn="l"/>
            <a:r>
              <a:rPr lang="en-US" sz="1800" b="1" i="1" u="none" strike="noStrike" baseline="0" dirty="0">
                <a:latin typeface="Arial" panose="020B0604020202020204" pitchFamily="34" charset="0"/>
              </a:rPr>
              <a:t>Proficient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Has a deep understanding, sees actions holistically, can achieve a high standard routinely.</a:t>
            </a:r>
          </a:p>
          <a:p>
            <a:pPr algn="l"/>
            <a:r>
              <a:rPr lang="en-US" sz="1800" b="1" i="1" u="none" strike="noStrike" baseline="0" dirty="0">
                <a:latin typeface="Arial" panose="020B0604020202020204" pitchFamily="34" charset="0"/>
              </a:rPr>
              <a:t>Expert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Has an authoritative or deep holistic understanding, deals with routine matters intuitively, able to go beyond existing interpretations,</a:t>
            </a:r>
          </a:p>
          <a:p>
            <a:pPr algn="l"/>
            <a:r>
              <a:rPr lang="en-US" sz="1800" b="0" i="0" u="none" strike="noStrike" baseline="0" dirty="0">
                <a:latin typeface="Arial" panose="020B0604020202020204" pitchFamily="34" charset="0"/>
              </a:rPr>
              <a:t>achieves excellence with ease.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B4322F3-9DBD-43DF-8857-164C0D9552CC}"/>
              </a:ext>
            </a:extLst>
          </p:cNvPr>
          <p:cNvSpPr txBox="1"/>
          <p:nvPr/>
        </p:nvSpPr>
        <p:spPr>
          <a:xfrm>
            <a:off x="6832997" y="495597"/>
            <a:ext cx="453985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rothers </a:t>
            </a:r>
            <a:r>
              <a:rPr lang="en-US" b="1" i="0" u="none" strike="noStrike" dirty="0">
                <a:effectLst/>
                <a:latin typeface="Arial" panose="020B0604020202020204" pitchFamily="34" charset="0"/>
              </a:rPr>
              <a:t>Stuart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and </a:t>
            </a:r>
            <a:r>
              <a:rPr lang="en-US" b="1" i="0" u="none" strike="noStrike" dirty="0">
                <a:effectLst/>
                <a:latin typeface="Arial" panose="020B0604020202020204" pitchFamily="34" charset="0"/>
              </a:rPr>
              <a:t>Hubert</a:t>
            </a:r>
            <a:r>
              <a:rPr lang="en-US" b="1" i="0" u="none" strike="noStrike" dirty="0">
                <a:solidFill>
                  <a:srgbClr val="0563C1"/>
                </a:solidFill>
                <a:effectLst/>
                <a:latin typeface="Arial" panose="020B0604020202020204" pitchFamily="34" charset="0"/>
                <a:hlinkClick r:id="rId2" tooltip="Hubert Dreyfus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b="1" i="0" u="none" strike="noStrike" dirty="0">
                <a:effectLst/>
                <a:latin typeface="Arial" panose="020B0604020202020204" pitchFamily="34" charset="0"/>
              </a:rPr>
              <a:t>Dreyfus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proposed the model in 1980 in an 18-page report on their research at the </a:t>
            </a:r>
            <a:r>
              <a:rPr lang="en-US" b="1" i="0" dirty="0">
                <a:effectLst/>
                <a:latin typeface="Arial" panose="020B0604020202020204" pitchFamily="34" charset="0"/>
              </a:rPr>
              <a:t>University of California, Berkeley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.</a:t>
            </a:r>
            <a:endParaRPr lang="en-US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E0C573-A08A-4685-87CC-E3298046ED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670" y="2300288"/>
            <a:ext cx="4933668" cy="3812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6405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vS0kYTS0iQPmyPJ9De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oOwXeCA.GnmPnqwDNv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3.xml><?xml version="1.0" encoding="utf-8"?>
<a:theme xmlns:a="http://schemas.openxmlformats.org/drawingml/2006/main" name="1_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4.xml><?xml version="1.0" encoding="utf-8"?>
<a:theme xmlns:a="http://schemas.openxmlformats.org/drawingml/2006/main" name="2_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8</TotalTime>
  <Words>1946</Words>
  <Application>Microsoft Office PowerPoint</Application>
  <PresentationFormat>Widescreen</PresentationFormat>
  <Paragraphs>174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3" baseType="lpstr">
      <vt:lpstr>Arial</vt:lpstr>
      <vt:lpstr>Calibri</vt:lpstr>
      <vt:lpstr>Calibri Light</vt:lpstr>
      <vt:lpstr>Calibri-Identity-H</vt:lpstr>
      <vt:lpstr>Lucida Fax</vt:lpstr>
      <vt:lpstr>Marlett</vt:lpstr>
      <vt:lpstr>Roboto</vt:lpstr>
      <vt:lpstr>Roboto Medium</vt:lpstr>
      <vt:lpstr>Roboto Slab</vt:lpstr>
      <vt:lpstr>Roboto Slab Regular</vt:lpstr>
      <vt:lpstr>Symbol</vt:lpstr>
      <vt:lpstr>Times New Roman</vt:lpstr>
      <vt:lpstr>Verdana</vt:lpstr>
      <vt:lpstr>Office Theme</vt:lpstr>
      <vt:lpstr>CB-K12</vt:lpstr>
      <vt:lpstr>1_CB-K12</vt:lpstr>
      <vt:lpstr>2_CB-K12</vt:lpstr>
      <vt:lpstr>think-cell Slide</vt:lpstr>
      <vt:lpstr>PowerPoint Presentation</vt:lpstr>
      <vt:lpstr>PowerPoint Presentation</vt:lpstr>
      <vt:lpstr>PowerPoint Presentation</vt:lpstr>
      <vt:lpstr>PowerPoint Presentation</vt:lpstr>
      <vt:lpstr>Course Skills and  Essential Knowledge</vt:lpstr>
      <vt:lpstr>Course Skills</vt:lpstr>
      <vt:lpstr>Unit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rsonal Progress Checks Overview</vt:lpstr>
      <vt:lpstr>Progress Dashboard Preview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rry Brown</dc:creator>
  <cp:lastModifiedBy>Jerry Brown</cp:lastModifiedBy>
  <cp:revision>29</cp:revision>
  <dcterms:created xsi:type="dcterms:W3CDTF">2021-04-22T17:28:26Z</dcterms:created>
  <dcterms:modified xsi:type="dcterms:W3CDTF">2022-06-08T00:32:51Z</dcterms:modified>
</cp:coreProperties>
</file>